
<file path=[Content_Types].xml><?xml version="1.0" encoding="utf-8"?>
<Types xmlns="http://schemas.openxmlformats.org/package/2006/content-types">
  <Default Extension="xml" ContentType="application/xml"/>
  <Default Extension="bin" ContentType="application/vnd.openxmlformats-officedocument.presentationml.printerSettings"/>
  <Default Extension="png" ContentType="image/png"/>
  <Default Extension="rels" ContentType="application/vnd.openxmlformats-package.relationships+xml"/>
  <Default Extension="emf" ContentType="image/x-em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erverZoom="100000" strictFirstAndLastChars="0" saveSubsetFonts="1" autoCompressPictures="0">
  <p:sldMasterIdLst>
    <p:sldMasterId id="2147483648" r:id="rId1"/>
    <p:sldMasterId id="2147483649" r:id="rId2"/>
    <p:sldMasterId id="2147483651" r:id="rId3"/>
  </p:sldMasterIdLst>
  <p:notesMasterIdLst>
    <p:notesMasterId r:id="rId17"/>
  </p:notesMasterIdLst>
  <p:sldIdLst>
    <p:sldId id="404" r:id="rId4"/>
    <p:sldId id="377" r:id="rId5"/>
    <p:sldId id="385" r:id="rId6"/>
    <p:sldId id="402" r:id="rId7"/>
    <p:sldId id="386" r:id="rId8"/>
    <p:sldId id="388" r:id="rId9"/>
    <p:sldId id="389" r:id="rId10"/>
    <p:sldId id="390" r:id="rId11"/>
    <p:sldId id="369" r:id="rId12"/>
    <p:sldId id="414" r:id="rId13"/>
    <p:sldId id="405" r:id="rId14"/>
    <p:sldId id="406" r:id="rId15"/>
    <p:sldId id="293" r:id="rId16"/>
  </p:sldIdLst>
  <p:sldSz cx="24384000" cy="13716000"/>
  <p:notesSz cx="6858000" cy="9144000"/>
  <p:defaultTextStyle>
    <a:defPPr>
      <a:defRPr lang="en-US"/>
    </a:defPPr>
    <a:lvl1pPr algn="ctr" defTabSz="825500" rtl="0" fontAlgn="base" hangingPunct="0">
      <a:lnSpc>
        <a:spcPct val="120000"/>
      </a:lnSpc>
      <a:spcBef>
        <a:spcPct val="0"/>
      </a:spcBef>
      <a:spcAft>
        <a:spcPct val="0"/>
      </a:spcAft>
      <a:defRPr sz="2000" kern="1200">
        <a:solidFill>
          <a:srgbClr val="202020"/>
        </a:solidFill>
        <a:latin typeface="Verdana" charset="0"/>
        <a:ea typeface="ＭＳ Ｐゴシック" charset="0"/>
        <a:cs typeface="ＭＳ Ｐゴシック" charset="0"/>
        <a:sym typeface="Verdana" charset="0"/>
      </a:defRPr>
    </a:lvl1pPr>
    <a:lvl2pPr marL="457200" indent="-228600" algn="ctr" defTabSz="825500" rtl="0" fontAlgn="base" hangingPunct="0">
      <a:lnSpc>
        <a:spcPct val="120000"/>
      </a:lnSpc>
      <a:spcBef>
        <a:spcPct val="0"/>
      </a:spcBef>
      <a:spcAft>
        <a:spcPct val="0"/>
      </a:spcAft>
      <a:defRPr sz="2000" kern="1200">
        <a:solidFill>
          <a:srgbClr val="202020"/>
        </a:solidFill>
        <a:latin typeface="Verdana" charset="0"/>
        <a:ea typeface="ＭＳ Ｐゴシック" charset="0"/>
        <a:cs typeface="ＭＳ Ｐゴシック" charset="0"/>
        <a:sym typeface="Verdana" charset="0"/>
      </a:defRPr>
    </a:lvl2pPr>
    <a:lvl3pPr marL="914400" indent="-457200" algn="ctr" defTabSz="825500" rtl="0" fontAlgn="base" hangingPunct="0">
      <a:lnSpc>
        <a:spcPct val="120000"/>
      </a:lnSpc>
      <a:spcBef>
        <a:spcPct val="0"/>
      </a:spcBef>
      <a:spcAft>
        <a:spcPct val="0"/>
      </a:spcAft>
      <a:defRPr sz="2000" kern="1200">
        <a:solidFill>
          <a:srgbClr val="202020"/>
        </a:solidFill>
        <a:latin typeface="Verdana" charset="0"/>
        <a:ea typeface="ＭＳ Ｐゴシック" charset="0"/>
        <a:cs typeface="ＭＳ Ｐゴシック" charset="0"/>
        <a:sym typeface="Verdana" charset="0"/>
      </a:defRPr>
    </a:lvl3pPr>
    <a:lvl4pPr marL="1371600" indent="-685800" algn="ctr" defTabSz="825500" rtl="0" fontAlgn="base" hangingPunct="0">
      <a:lnSpc>
        <a:spcPct val="120000"/>
      </a:lnSpc>
      <a:spcBef>
        <a:spcPct val="0"/>
      </a:spcBef>
      <a:spcAft>
        <a:spcPct val="0"/>
      </a:spcAft>
      <a:defRPr sz="2000" kern="1200">
        <a:solidFill>
          <a:srgbClr val="202020"/>
        </a:solidFill>
        <a:latin typeface="Verdana" charset="0"/>
        <a:ea typeface="ＭＳ Ｐゴシック" charset="0"/>
        <a:cs typeface="ＭＳ Ｐゴシック" charset="0"/>
        <a:sym typeface="Verdana" charset="0"/>
      </a:defRPr>
    </a:lvl4pPr>
    <a:lvl5pPr marL="1828800" indent="-914400" algn="ctr" defTabSz="825500" rtl="0" fontAlgn="base" hangingPunct="0">
      <a:lnSpc>
        <a:spcPct val="120000"/>
      </a:lnSpc>
      <a:spcBef>
        <a:spcPct val="0"/>
      </a:spcBef>
      <a:spcAft>
        <a:spcPct val="0"/>
      </a:spcAft>
      <a:defRPr sz="2000" kern="1200">
        <a:solidFill>
          <a:srgbClr val="202020"/>
        </a:solidFill>
        <a:latin typeface="Verdana" charset="0"/>
        <a:ea typeface="ＭＳ Ｐゴシック" charset="0"/>
        <a:cs typeface="ＭＳ Ｐゴシック" charset="0"/>
        <a:sym typeface="Verdana" charset="0"/>
      </a:defRPr>
    </a:lvl5pPr>
    <a:lvl6pPr marL="2286000" algn="l" defTabSz="457200" rtl="0" eaLnBrk="1" latinLnBrk="0" hangingPunct="1">
      <a:defRPr sz="2000" kern="1200">
        <a:solidFill>
          <a:srgbClr val="202020"/>
        </a:solidFill>
        <a:latin typeface="Verdana" charset="0"/>
        <a:ea typeface="ＭＳ Ｐゴシック" charset="0"/>
        <a:cs typeface="ＭＳ Ｐゴシック" charset="0"/>
        <a:sym typeface="Verdana" charset="0"/>
      </a:defRPr>
    </a:lvl6pPr>
    <a:lvl7pPr marL="2743200" algn="l" defTabSz="457200" rtl="0" eaLnBrk="1" latinLnBrk="0" hangingPunct="1">
      <a:defRPr sz="2000" kern="1200">
        <a:solidFill>
          <a:srgbClr val="202020"/>
        </a:solidFill>
        <a:latin typeface="Verdana" charset="0"/>
        <a:ea typeface="ＭＳ Ｐゴシック" charset="0"/>
        <a:cs typeface="ＭＳ Ｐゴシック" charset="0"/>
        <a:sym typeface="Verdana" charset="0"/>
      </a:defRPr>
    </a:lvl7pPr>
    <a:lvl8pPr marL="3200400" algn="l" defTabSz="457200" rtl="0" eaLnBrk="1" latinLnBrk="0" hangingPunct="1">
      <a:defRPr sz="2000" kern="1200">
        <a:solidFill>
          <a:srgbClr val="202020"/>
        </a:solidFill>
        <a:latin typeface="Verdana" charset="0"/>
        <a:ea typeface="ＭＳ Ｐゴシック" charset="0"/>
        <a:cs typeface="ＭＳ Ｐゴシック" charset="0"/>
        <a:sym typeface="Verdana" charset="0"/>
      </a:defRPr>
    </a:lvl8pPr>
    <a:lvl9pPr marL="3657600" algn="l" defTabSz="457200" rtl="0" eaLnBrk="1" latinLnBrk="0" hangingPunct="1">
      <a:defRPr sz="2000" kern="1200">
        <a:solidFill>
          <a:srgbClr val="202020"/>
        </a:solidFill>
        <a:latin typeface="Verdana" charset="0"/>
        <a:ea typeface="ＭＳ Ｐゴシック" charset="0"/>
        <a:cs typeface="ＭＳ Ｐゴシック" charset="0"/>
        <a:sym typeface="Verdana" charset="0"/>
      </a:defRPr>
    </a:lvl9pPr>
  </p:defaultTextStyle>
  <p:extLst>
    <p:ext uri="{EFAFB233-063F-42B5-8137-9DF3F51BA10A}">
      <p15:sldGuideLst xmlns:p15="http://schemas.microsoft.com/office/powerpoint/2012/main" xmlns="">
        <p15:guide id="1" orient="horz" pos="4320">
          <p15:clr>
            <a:srgbClr val="A4A3A4"/>
          </p15:clr>
        </p15:guide>
        <p15:guide id="2" pos="76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8E8E8"/>
    <a:srgbClr val="88C2DE"/>
    <a:srgbClr val="0480BA"/>
    <a:srgbClr val="246EA8"/>
    <a:srgbClr val="FF8000"/>
    <a:srgbClr val="00A235"/>
    <a:srgbClr val="C20202"/>
    <a:srgbClr val="0DD312"/>
    <a:srgbClr val="49FF37"/>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10"/>
    <p:restoredTop sz="96659" autoAdjust="0"/>
  </p:normalViewPr>
  <p:slideViewPr>
    <p:cSldViewPr>
      <p:cViewPr varScale="1">
        <p:scale>
          <a:sx n="52" d="100"/>
          <a:sy n="52" d="100"/>
        </p:scale>
        <p:origin x="-704" y="-120"/>
      </p:cViewPr>
      <p:guideLst>
        <p:guide orient="horz" pos="4320"/>
        <p:guide pos="76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20" Type="http://schemas.openxmlformats.org/officeDocument/2006/relationships/viewProps" Target="viewProps.xml"/><Relationship Id="rId21" Type="http://schemas.openxmlformats.org/officeDocument/2006/relationships/theme" Target="theme/theme1.xml"/><Relationship Id="rId22" Type="http://schemas.openxmlformats.org/officeDocument/2006/relationships/tableStyles" Target="tableStyles.xml"/><Relationship Id="rId10" Type="http://schemas.openxmlformats.org/officeDocument/2006/relationships/slide" Target="slides/slide7.xml"/><Relationship Id="rId11" Type="http://schemas.openxmlformats.org/officeDocument/2006/relationships/slide" Target="slides/slide8.xml"/><Relationship Id="rId12" Type="http://schemas.openxmlformats.org/officeDocument/2006/relationships/slide" Target="slides/slide9.xml"/><Relationship Id="rId13" Type="http://schemas.openxmlformats.org/officeDocument/2006/relationships/slide" Target="slides/slide10.xml"/><Relationship Id="rId14" Type="http://schemas.openxmlformats.org/officeDocument/2006/relationships/slide" Target="slides/slide11.xml"/><Relationship Id="rId15" Type="http://schemas.openxmlformats.org/officeDocument/2006/relationships/slide" Target="slides/slide12.xml"/><Relationship Id="rId16" Type="http://schemas.openxmlformats.org/officeDocument/2006/relationships/slide" Target="slides/slide13.xml"/><Relationship Id="rId17" Type="http://schemas.openxmlformats.org/officeDocument/2006/relationships/notesMaster" Target="notesMasters/notesMaster1.xml"/><Relationship Id="rId18" Type="http://schemas.openxmlformats.org/officeDocument/2006/relationships/printerSettings" Target="printerSettings/printerSettings1.bin"/><Relationship Id="rId19" Type="http://schemas.openxmlformats.org/officeDocument/2006/relationships/presProps" Target="presProps.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 Target="slides/slide1.xml"/><Relationship Id="rId5" Type="http://schemas.openxmlformats.org/officeDocument/2006/relationships/slide" Target="slides/slide2.xml"/><Relationship Id="rId6" Type="http://schemas.openxmlformats.org/officeDocument/2006/relationships/slide" Target="slides/slide3.xml"/><Relationship Id="rId7" Type="http://schemas.openxmlformats.org/officeDocument/2006/relationships/slide" Target="slides/slide4.xml"/><Relationship Id="rId8" Type="http://schemas.openxmlformats.org/officeDocument/2006/relationships/slide" Target="slides/slide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D2DC9C9-CCF8-6D47-A8AF-7E8440F609A2}" type="doc">
      <dgm:prSet loTypeId="urn:microsoft.com/office/officeart/2005/8/layout/hierarchy1" loCatId="" qsTypeId="urn:microsoft.com/office/officeart/2005/8/quickstyle/3D4" qsCatId="3D" csTypeId="urn:microsoft.com/office/officeart/2005/8/colors/accent1_2" csCatId="accent1" phldr="1"/>
      <dgm:spPr/>
      <dgm:t>
        <a:bodyPr/>
        <a:lstStyle/>
        <a:p>
          <a:endParaRPr lang="en-US"/>
        </a:p>
      </dgm:t>
    </dgm:pt>
    <dgm:pt modelId="{976E4913-3013-D542-B94C-5F195A6724B7}">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Revenue:</a:t>
          </a:r>
          <a:br>
            <a:rPr lang="en-US" b="1" dirty="0" smtClean="0">
              <a:solidFill>
                <a:schemeClr val="accent1">
                  <a:lumMod val="50000"/>
                </a:schemeClr>
              </a:solidFill>
              <a:effectLst>
                <a:outerShdw blurRad="50800" dist="38100" dir="2700000" algn="tl" rotWithShape="0">
                  <a:prstClr val="black">
                    <a:alpha val="40000"/>
                  </a:prstClr>
                </a:outerShdw>
              </a:effectLst>
            </a:rPr>
          </a:br>
          <a:r>
            <a:rPr lang="en-US" b="1" dirty="0" smtClean="0">
              <a:solidFill>
                <a:schemeClr val="accent1">
                  <a:lumMod val="50000"/>
                </a:schemeClr>
              </a:solidFill>
              <a:effectLst>
                <a:outerShdw blurRad="50800" dist="38100" dir="2700000" algn="tl" rotWithShape="0">
                  <a:prstClr val="black">
                    <a:alpha val="40000"/>
                  </a:prstClr>
                </a:outerShdw>
              </a:effectLst>
            </a:rPr>
            <a:t> </a:t>
          </a:r>
          <a:r>
            <a:rPr lang="en-US" b="0" dirty="0" smtClean="0">
              <a:solidFill>
                <a:schemeClr val="accent1">
                  <a:lumMod val="50000"/>
                </a:schemeClr>
              </a:solidFill>
              <a:effectLst>
                <a:outerShdw blurRad="50800" dist="38100" dir="2700000" algn="tl" rotWithShape="0">
                  <a:prstClr val="black">
                    <a:alpha val="40000"/>
                  </a:prstClr>
                </a:outerShdw>
              </a:effectLst>
            </a:rPr>
            <a:t>$2.0m</a:t>
          </a:r>
          <a:endParaRPr lang="en-US" b="0" dirty="0">
            <a:solidFill>
              <a:schemeClr val="accent1">
                <a:lumMod val="50000"/>
              </a:schemeClr>
            </a:solidFill>
            <a:effectLst>
              <a:outerShdw blurRad="50800" dist="38100" dir="2700000" algn="tl" rotWithShape="0">
                <a:prstClr val="black">
                  <a:alpha val="40000"/>
                </a:prstClr>
              </a:outerShdw>
            </a:effectLst>
          </a:endParaRPr>
        </a:p>
      </dgm:t>
    </dgm:pt>
    <dgm:pt modelId="{84BCC4DA-0C9B-9840-AE25-C39D2CEBB720}" type="parTrans" cxnId="{AE41E93C-8516-5342-A4E3-DFA0200A343B}">
      <dgm:prSet/>
      <dgm:spPr/>
      <dgm:t>
        <a:bodyPr/>
        <a:lstStyle/>
        <a:p>
          <a:endParaRPr lang="en-US"/>
        </a:p>
      </dgm:t>
    </dgm:pt>
    <dgm:pt modelId="{1EA03C99-4980-B54B-B863-97E3E8430D8C}" type="sibTrans" cxnId="{AE41E93C-8516-5342-A4E3-DFA0200A343B}">
      <dgm:prSet/>
      <dgm:spPr/>
      <dgm:t>
        <a:bodyPr/>
        <a:lstStyle/>
        <a:p>
          <a:endParaRPr lang="en-US"/>
        </a:p>
      </dgm:t>
    </dgm:pt>
    <dgm:pt modelId="{2A39EBA1-2F93-5142-937C-314A1010ED30}">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Revenue Per Visitor:</a:t>
          </a:r>
          <a:br>
            <a:rPr lang="en-US" b="1" dirty="0" smtClean="0">
              <a:solidFill>
                <a:schemeClr val="accent1">
                  <a:lumMod val="50000"/>
                </a:schemeClr>
              </a:solidFill>
              <a:effectLst>
                <a:outerShdw blurRad="50800" dist="38100" dir="2700000" algn="tl" rotWithShape="0">
                  <a:prstClr val="black">
                    <a:alpha val="40000"/>
                  </a:prstClr>
                </a:outerShdw>
              </a:effectLst>
            </a:rPr>
          </a:br>
          <a:r>
            <a:rPr lang="en-US" b="0" dirty="0" smtClean="0">
              <a:solidFill>
                <a:schemeClr val="accent1">
                  <a:lumMod val="50000"/>
                </a:schemeClr>
              </a:solidFill>
              <a:effectLst>
                <a:outerShdw blurRad="50800" dist="38100" dir="2700000" algn="tl" rotWithShape="0">
                  <a:prstClr val="black">
                    <a:alpha val="40000"/>
                  </a:prstClr>
                </a:outerShdw>
              </a:effectLst>
            </a:rPr>
            <a:t>$1.00</a:t>
          </a:r>
          <a:endParaRPr lang="en-US" b="0" dirty="0">
            <a:solidFill>
              <a:schemeClr val="accent1">
                <a:lumMod val="50000"/>
              </a:schemeClr>
            </a:solidFill>
            <a:effectLst>
              <a:outerShdw blurRad="50800" dist="38100" dir="2700000" algn="tl" rotWithShape="0">
                <a:prstClr val="black">
                  <a:alpha val="40000"/>
                </a:prstClr>
              </a:outerShdw>
            </a:effectLst>
          </a:endParaRPr>
        </a:p>
      </dgm:t>
    </dgm:pt>
    <dgm:pt modelId="{2DF65173-E2F5-F64A-B40C-98384386255A}" type="parTrans" cxnId="{B807CD84-65C2-6D48-B742-4D6C6154D9E3}">
      <dgm:prSet/>
      <dgm:spPr/>
      <dgm:t>
        <a:bodyPr/>
        <a:lstStyle/>
        <a:p>
          <a:endParaRPr lang="en-US"/>
        </a:p>
      </dgm:t>
    </dgm:pt>
    <dgm:pt modelId="{1EF18E59-6D25-3443-A842-04859CF4EFDE}" type="sibTrans" cxnId="{B807CD84-65C2-6D48-B742-4D6C6154D9E3}">
      <dgm:prSet/>
      <dgm:spPr/>
      <dgm:t>
        <a:bodyPr/>
        <a:lstStyle/>
        <a:p>
          <a:endParaRPr lang="en-US"/>
        </a:p>
      </dgm:t>
    </dgm:pt>
    <dgm:pt modelId="{44407743-FA8C-3841-943E-4FC86D85CCD9}">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Visitors:</a:t>
          </a:r>
          <a:br>
            <a:rPr lang="en-US" b="1" dirty="0" smtClean="0">
              <a:solidFill>
                <a:schemeClr val="accent1">
                  <a:lumMod val="50000"/>
                </a:schemeClr>
              </a:solidFill>
              <a:effectLst>
                <a:outerShdw blurRad="50800" dist="38100" dir="2700000" algn="tl" rotWithShape="0">
                  <a:prstClr val="black">
                    <a:alpha val="40000"/>
                  </a:prstClr>
                </a:outerShdw>
              </a:effectLst>
            </a:rPr>
          </a:br>
          <a:r>
            <a:rPr lang="en-US" b="0" dirty="0" smtClean="0">
              <a:solidFill>
                <a:schemeClr val="accent1">
                  <a:lumMod val="50000"/>
                </a:schemeClr>
              </a:solidFill>
              <a:effectLst>
                <a:outerShdw blurRad="50800" dist="38100" dir="2700000" algn="tl" rotWithShape="0">
                  <a:prstClr val="black">
                    <a:alpha val="40000"/>
                  </a:prstClr>
                </a:outerShdw>
              </a:effectLst>
            </a:rPr>
            <a:t>2.0m</a:t>
          </a:r>
          <a:endParaRPr lang="en-US" b="0" dirty="0">
            <a:solidFill>
              <a:schemeClr val="accent1">
                <a:lumMod val="50000"/>
              </a:schemeClr>
            </a:solidFill>
            <a:effectLst>
              <a:outerShdw blurRad="50800" dist="38100" dir="2700000" algn="tl" rotWithShape="0">
                <a:prstClr val="black">
                  <a:alpha val="40000"/>
                </a:prstClr>
              </a:outerShdw>
            </a:effectLst>
          </a:endParaRPr>
        </a:p>
      </dgm:t>
    </dgm:pt>
    <dgm:pt modelId="{9381EFED-55ED-EB40-BFBF-E3D20E39599B}" type="parTrans" cxnId="{14322F85-A2F5-E84D-A1EF-B4C262155297}">
      <dgm:prSet/>
      <dgm:spPr/>
      <dgm:t>
        <a:bodyPr/>
        <a:lstStyle/>
        <a:p>
          <a:endParaRPr lang="en-US"/>
        </a:p>
      </dgm:t>
    </dgm:pt>
    <dgm:pt modelId="{7A81C806-E05F-A74A-998E-B0EB6B022A63}" type="sibTrans" cxnId="{14322F85-A2F5-E84D-A1EF-B4C262155297}">
      <dgm:prSet/>
      <dgm:spPr/>
      <dgm:t>
        <a:bodyPr/>
        <a:lstStyle/>
        <a:p>
          <a:endParaRPr lang="en-US"/>
        </a:p>
      </dgm:t>
    </dgm:pt>
    <dgm:pt modelId="{6199E3C3-062C-F241-B17E-C01235C54BF5}">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User acquisition:</a:t>
          </a:r>
          <a:br>
            <a:rPr lang="en-US" b="1" dirty="0" smtClean="0">
              <a:solidFill>
                <a:schemeClr val="accent1">
                  <a:lumMod val="50000"/>
                </a:schemeClr>
              </a:solidFill>
              <a:effectLst>
                <a:outerShdw blurRad="50800" dist="38100" dir="2700000" algn="tl" rotWithShape="0">
                  <a:prstClr val="black">
                    <a:alpha val="40000"/>
                  </a:prstClr>
                </a:outerShdw>
              </a:effectLst>
            </a:rPr>
          </a:br>
          <a:r>
            <a:rPr lang="en-US" b="0" dirty="0" smtClean="0">
              <a:solidFill>
                <a:schemeClr val="accent1">
                  <a:lumMod val="50000"/>
                </a:schemeClr>
              </a:solidFill>
              <a:effectLst>
                <a:outerShdw blurRad="50800" dist="38100" dir="2700000" algn="tl" rotWithShape="0">
                  <a:prstClr val="black">
                    <a:alpha val="40000"/>
                  </a:prstClr>
                </a:outerShdw>
              </a:effectLst>
            </a:rPr>
            <a:t>1.5m</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1732B170-B9E5-8745-A394-50C5CD9598D2}" type="parTrans" cxnId="{BEFF8E41-1FA3-754D-BB1A-BB8ADA37B9BC}">
      <dgm:prSet/>
      <dgm:spPr/>
      <dgm:t>
        <a:bodyPr/>
        <a:lstStyle/>
        <a:p>
          <a:endParaRPr lang="en-US"/>
        </a:p>
      </dgm:t>
    </dgm:pt>
    <dgm:pt modelId="{E0A7A375-BF54-964C-86BB-66D1D89B52FD}" type="sibTrans" cxnId="{BEFF8E41-1FA3-754D-BB1A-BB8ADA37B9BC}">
      <dgm:prSet/>
      <dgm:spPr/>
      <dgm:t>
        <a:bodyPr/>
        <a:lstStyle/>
        <a:p>
          <a:endParaRPr lang="en-US"/>
        </a:p>
      </dgm:t>
    </dgm:pt>
    <dgm:pt modelId="{184ACB9C-DDC8-4345-B724-0DDDFC50ECAB}">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Average Order Value:</a:t>
          </a:r>
          <a:br>
            <a:rPr lang="en-US" b="1" dirty="0" smtClean="0">
              <a:solidFill>
                <a:schemeClr val="accent1">
                  <a:lumMod val="50000"/>
                </a:schemeClr>
              </a:solidFill>
              <a:effectLst>
                <a:outerShdw blurRad="50800" dist="38100" dir="2700000" algn="tl" rotWithShape="0">
                  <a:prstClr val="black">
                    <a:alpha val="40000"/>
                  </a:prstClr>
                </a:outerShdw>
              </a:effectLst>
            </a:rPr>
          </a:br>
          <a:r>
            <a:rPr lang="en-US" b="0" dirty="0" smtClean="0">
              <a:solidFill>
                <a:schemeClr val="accent1">
                  <a:lumMod val="50000"/>
                </a:schemeClr>
              </a:solidFill>
              <a:effectLst>
                <a:outerShdw blurRad="50800" dist="38100" dir="2700000" algn="tl" rotWithShape="0">
                  <a:prstClr val="black">
                    <a:alpha val="40000"/>
                  </a:prstClr>
                </a:outerShdw>
              </a:effectLst>
            </a:rPr>
            <a:t>$50.00</a:t>
          </a:r>
          <a:endParaRPr lang="en-US" b="0" dirty="0">
            <a:solidFill>
              <a:schemeClr val="accent1">
                <a:lumMod val="50000"/>
              </a:schemeClr>
            </a:solidFill>
            <a:effectLst>
              <a:outerShdw blurRad="50800" dist="38100" dir="2700000" algn="tl" rotWithShape="0">
                <a:prstClr val="black">
                  <a:alpha val="40000"/>
                </a:prstClr>
              </a:outerShdw>
            </a:effectLst>
          </a:endParaRPr>
        </a:p>
      </dgm:t>
    </dgm:pt>
    <dgm:pt modelId="{5D82BF99-9764-454A-870A-B3235B2BB2CB}" type="parTrans" cxnId="{0585C621-BA38-2449-8E8B-796FB46E0182}">
      <dgm:prSet/>
      <dgm:spPr/>
      <dgm:t>
        <a:bodyPr/>
        <a:lstStyle/>
        <a:p>
          <a:endParaRPr lang="en-US"/>
        </a:p>
      </dgm:t>
    </dgm:pt>
    <dgm:pt modelId="{BDCBA3D6-C501-0A47-88CA-72E8E5C02827}" type="sibTrans" cxnId="{0585C621-BA38-2449-8E8B-796FB46E0182}">
      <dgm:prSet/>
      <dgm:spPr/>
      <dgm:t>
        <a:bodyPr/>
        <a:lstStyle/>
        <a:p>
          <a:endParaRPr lang="en-US"/>
        </a:p>
      </dgm:t>
    </dgm:pt>
    <dgm:pt modelId="{3949C127-D417-5447-960D-9A31732C76A6}">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Conversion Rate:</a:t>
          </a:r>
          <a:br>
            <a:rPr lang="en-US" b="1" dirty="0" smtClean="0">
              <a:solidFill>
                <a:schemeClr val="accent1">
                  <a:lumMod val="50000"/>
                </a:schemeClr>
              </a:solidFill>
              <a:effectLst>
                <a:outerShdw blurRad="50800" dist="38100" dir="2700000" algn="tl" rotWithShape="0">
                  <a:prstClr val="black">
                    <a:alpha val="40000"/>
                  </a:prstClr>
                </a:outerShdw>
              </a:effectLst>
            </a:rPr>
          </a:br>
          <a:r>
            <a:rPr lang="en-US" b="0" dirty="0" smtClean="0">
              <a:solidFill>
                <a:schemeClr val="accent1">
                  <a:lumMod val="50000"/>
                </a:schemeClr>
              </a:solidFill>
              <a:effectLst>
                <a:outerShdw blurRad="50800" dist="38100" dir="2700000" algn="tl" rotWithShape="0">
                  <a:prstClr val="black">
                    <a:alpha val="40000"/>
                  </a:prstClr>
                </a:outerShdw>
              </a:effectLst>
            </a:rPr>
            <a:t>2.00%</a:t>
          </a:r>
          <a:endParaRPr lang="en-US" b="0" dirty="0">
            <a:solidFill>
              <a:schemeClr val="accent1">
                <a:lumMod val="50000"/>
              </a:schemeClr>
            </a:solidFill>
            <a:effectLst>
              <a:outerShdw blurRad="50800" dist="38100" dir="2700000" algn="tl" rotWithShape="0">
                <a:prstClr val="black">
                  <a:alpha val="40000"/>
                </a:prstClr>
              </a:outerShdw>
            </a:effectLst>
          </a:endParaRPr>
        </a:p>
      </dgm:t>
    </dgm:pt>
    <dgm:pt modelId="{97F00291-484C-9643-BB48-501572165824}" type="parTrans" cxnId="{3E44F089-2635-AF49-B541-787582491816}">
      <dgm:prSet/>
      <dgm:spPr/>
      <dgm:t>
        <a:bodyPr/>
        <a:lstStyle/>
        <a:p>
          <a:endParaRPr lang="en-US"/>
        </a:p>
      </dgm:t>
    </dgm:pt>
    <dgm:pt modelId="{6B0EF262-C553-C64C-A1AF-8F442A059D90}" type="sibTrans" cxnId="{3E44F089-2635-AF49-B541-787582491816}">
      <dgm:prSet/>
      <dgm:spPr/>
      <dgm:t>
        <a:bodyPr/>
        <a:lstStyle/>
        <a:p>
          <a:endParaRPr lang="en-US"/>
        </a:p>
      </dgm:t>
    </dgm:pt>
    <dgm:pt modelId="{02450672-1453-674F-9568-6D7583B183BB}">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Add to Cart</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4B0DD293-0C83-8647-AD12-E85C913CFE01}" type="parTrans" cxnId="{86040578-F333-9840-9B65-1F28B3ECD03C}">
      <dgm:prSet/>
      <dgm:spPr/>
      <dgm:t>
        <a:bodyPr/>
        <a:lstStyle/>
        <a:p>
          <a:endParaRPr lang="en-US"/>
        </a:p>
      </dgm:t>
    </dgm:pt>
    <dgm:pt modelId="{952FA72D-BF7D-D649-9097-85E160A252FA}" type="sibTrans" cxnId="{86040578-F333-9840-9B65-1F28B3ECD03C}">
      <dgm:prSet/>
      <dgm:spPr/>
      <dgm:t>
        <a:bodyPr/>
        <a:lstStyle/>
        <a:p>
          <a:endParaRPr lang="en-US"/>
        </a:p>
      </dgm:t>
    </dgm:pt>
    <dgm:pt modelId="{90DECB6B-6422-BE49-B301-A3E12E66236F}">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Cart Checkout Rate</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A2AF27BC-FA34-6E4F-8DB7-4D55D30B4731}" type="parTrans" cxnId="{024E7B52-F85E-7D45-BE35-19A81F8265A9}">
      <dgm:prSet/>
      <dgm:spPr/>
      <dgm:t>
        <a:bodyPr/>
        <a:lstStyle/>
        <a:p>
          <a:endParaRPr lang="en-US"/>
        </a:p>
      </dgm:t>
    </dgm:pt>
    <dgm:pt modelId="{0ACE4F66-ABF0-3C43-833C-FF3059225E1E}" type="sibTrans" cxnId="{024E7B52-F85E-7D45-BE35-19A81F8265A9}">
      <dgm:prSet/>
      <dgm:spPr/>
      <dgm:t>
        <a:bodyPr/>
        <a:lstStyle/>
        <a:p>
          <a:endParaRPr lang="en-US"/>
        </a:p>
      </dgm:t>
    </dgm:pt>
    <dgm:pt modelId="{03CF68B1-6741-C14E-A767-3EEC640D027A}">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Average  quantity:</a:t>
          </a:r>
          <a:br>
            <a:rPr lang="en-US" b="1" dirty="0" smtClean="0">
              <a:solidFill>
                <a:schemeClr val="accent1">
                  <a:lumMod val="50000"/>
                </a:schemeClr>
              </a:solidFill>
              <a:effectLst>
                <a:outerShdw blurRad="50800" dist="38100" dir="2700000" algn="tl" rotWithShape="0">
                  <a:prstClr val="black">
                    <a:alpha val="40000"/>
                  </a:prstClr>
                </a:outerShdw>
              </a:effectLst>
            </a:rPr>
          </a:br>
          <a:r>
            <a:rPr lang="en-US" b="0" dirty="0" smtClean="0">
              <a:solidFill>
                <a:schemeClr val="accent1">
                  <a:lumMod val="50000"/>
                </a:schemeClr>
              </a:solidFill>
              <a:effectLst>
                <a:outerShdw blurRad="50800" dist="38100" dir="2700000" algn="tl" rotWithShape="0">
                  <a:prstClr val="black">
                    <a:alpha val="40000"/>
                  </a:prstClr>
                </a:outerShdw>
              </a:effectLst>
            </a:rPr>
            <a:t>2.00</a:t>
          </a:r>
          <a:endParaRPr lang="en-US" b="0" dirty="0">
            <a:solidFill>
              <a:schemeClr val="accent1">
                <a:lumMod val="50000"/>
              </a:schemeClr>
            </a:solidFill>
            <a:effectLst>
              <a:outerShdw blurRad="50800" dist="38100" dir="2700000" algn="tl" rotWithShape="0">
                <a:prstClr val="black">
                  <a:alpha val="40000"/>
                </a:prstClr>
              </a:outerShdw>
            </a:effectLst>
          </a:endParaRPr>
        </a:p>
      </dgm:t>
    </dgm:pt>
    <dgm:pt modelId="{30C25A4A-E4DC-3941-B63A-4538CE0511E0}" type="parTrans" cxnId="{5A589717-ECE6-0644-8377-615482939D2A}">
      <dgm:prSet/>
      <dgm:spPr/>
      <dgm:t>
        <a:bodyPr/>
        <a:lstStyle/>
        <a:p>
          <a:endParaRPr lang="en-US"/>
        </a:p>
      </dgm:t>
    </dgm:pt>
    <dgm:pt modelId="{8024D8B6-01B5-454C-9678-8CF31DA62376}" type="sibTrans" cxnId="{5A589717-ECE6-0644-8377-615482939D2A}">
      <dgm:prSet/>
      <dgm:spPr/>
      <dgm:t>
        <a:bodyPr/>
        <a:lstStyle/>
        <a:p>
          <a:endParaRPr lang="en-US"/>
        </a:p>
      </dgm:t>
    </dgm:pt>
    <dgm:pt modelId="{A7EAC468-2E3D-1042-ADEE-3E290F6F0620}">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Average per unit price:</a:t>
          </a:r>
          <a:br>
            <a:rPr lang="en-US" b="1" dirty="0" smtClean="0">
              <a:solidFill>
                <a:schemeClr val="accent1">
                  <a:lumMod val="50000"/>
                </a:schemeClr>
              </a:solidFill>
              <a:effectLst>
                <a:outerShdw blurRad="50800" dist="38100" dir="2700000" algn="tl" rotWithShape="0">
                  <a:prstClr val="black">
                    <a:alpha val="40000"/>
                  </a:prstClr>
                </a:outerShdw>
              </a:effectLst>
            </a:rPr>
          </a:br>
          <a:r>
            <a:rPr lang="en-US" b="0" dirty="0" smtClean="0">
              <a:solidFill>
                <a:schemeClr val="accent1">
                  <a:lumMod val="50000"/>
                </a:schemeClr>
              </a:solidFill>
              <a:effectLst>
                <a:outerShdw blurRad="50800" dist="38100" dir="2700000" algn="tl" rotWithShape="0">
                  <a:prstClr val="black">
                    <a:alpha val="40000"/>
                  </a:prstClr>
                </a:outerShdw>
              </a:effectLst>
            </a:rPr>
            <a:t>$25.00</a:t>
          </a:r>
          <a:endParaRPr lang="en-US" b="0" dirty="0">
            <a:solidFill>
              <a:schemeClr val="accent1">
                <a:lumMod val="50000"/>
              </a:schemeClr>
            </a:solidFill>
            <a:effectLst>
              <a:outerShdw blurRad="50800" dist="38100" dir="2700000" algn="tl" rotWithShape="0">
                <a:prstClr val="black">
                  <a:alpha val="40000"/>
                </a:prstClr>
              </a:outerShdw>
            </a:effectLst>
          </a:endParaRPr>
        </a:p>
      </dgm:t>
    </dgm:pt>
    <dgm:pt modelId="{1DCB4C9E-42BF-FB4C-81B6-AAFF8DDAD191}" type="parTrans" cxnId="{32D03DD7-38FA-C14B-9FD0-E614AF2CAFD4}">
      <dgm:prSet/>
      <dgm:spPr/>
      <dgm:t>
        <a:bodyPr/>
        <a:lstStyle/>
        <a:p>
          <a:endParaRPr lang="en-US"/>
        </a:p>
      </dgm:t>
    </dgm:pt>
    <dgm:pt modelId="{0BECE94C-79F0-F449-8633-711FCF4BFE62}" type="sibTrans" cxnId="{32D03DD7-38FA-C14B-9FD0-E614AF2CAFD4}">
      <dgm:prSet/>
      <dgm:spPr/>
      <dgm:t>
        <a:bodyPr/>
        <a:lstStyle/>
        <a:p>
          <a:endParaRPr lang="en-US"/>
        </a:p>
      </dgm:t>
    </dgm:pt>
    <dgm:pt modelId="{76DF730F-6FAD-2C42-84B0-06DCA06D35AB}">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User retention</a:t>
          </a:r>
          <a:br>
            <a:rPr lang="en-US" b="1" dirty="0" smtClean="0">
              <a:solidFill>
                <a:schemeClr val="accent1">
                  <a:lumMod val="50000"/>
                </a:schemeClr>
              </a:solidFill>
              <a:effectLst>
                <a:outerShdw blurRad="50800" dist="38100" dir="2700000" algn="tl" rotWithShape="0">
                  <a:prstClr val="black">
                    <a:alpha val="40000"/>
                  </a:prstClr>
                </a:outerShdw>
              </a:effectLst>
            </a:rPr>
          </a:br>
          <a:r>
            <a:rPr lang="en-US" b="0" dirty="0" smtClean="0">
              <a:solidFill>
                <a:schemeClr val="accent1">
                  <a:lumMod val="50000"/>
                </a:schemeClr>
              </a:solidFill>
              <a:effectLst>
                <a:outerShdw blurRad="50800" dist="38100" dir="2700000" algn="tl" rotWithShape="0">
                  <a:prstClr val="black">
                    <a:alpha val="40000"/>
                  </a:prstClr>
                </a:outerShdw>
              </a:effectLst>
            </a:rPr>
            <a:t>33%</a:t>
          </a:r>
          <a:endParaRPr lang="en-US" b="0" dirty="0">
            <a:solidFill>
              <a:schemeClr val="accent1">
                <a:lumMod val="50000"/>
              </a:schemeClr>
            </a:solidFill>
            <a:effectLst>
              <a:outerShdw blurRad="50800" dist="38100" dir="2700000" algn="tl" rotWithShape="0">
                <a:prstClr val="black">
                  <a:alpha val="40000"/>
                </a:prstClr>
              </a:outerShdw>
            </a:effectLst>
          </a:endParaRPr>
        </a:p>
      </dgm:t>
    </dgm:pt>
    <dgm:pt modelId="{4AA2CFA8-FECD-C244-AE70-A104540C25B7}" type="parTrans" cxnId="{661595BE-6508-1047-9FFB-B87CEDB43E3E}">
      <dgm:prSet/>
      <dgm:spPr/>
      <dgm:t>
        <a:bodyPr/>
        <a:lstStyle/>
        <a:p>
          <a:endParaRPr lang="en-US"/>
        </a:p>
      </dgm:t>
    </dgm:pt>
    <dgm:pt modelId="{2FA1D702-26A1-6244-891B-F6D4BD0E4F28}" type="sibTrans" cxnId="{661595BE-6508-1047-9FFB-B87CEDB43E3E}">
      <dgm:prSet/>
      <dgm:spPr/>
      <dgm:t>
        <a:bodyPr/>
        <a:lstStyle/>
        <a:p>
          <a:endParaRPr lang="en-US"/>
        </a:p>
      </dgm:t>
    </dgm:pt>
    <dgm:pt modelId="{041119CE-361E-6D4A-9899-F5AB6B6B890A}" type="pres">
      <dgm:prSet presAssocID="{FD2DC9C9-CCF8-6D47-A8AF-7E8440F609A2}" presName="hierChild1" presStyleCnt="0">
        <dgm:presLayoutVars>
          <dgm:chPref val="1"/>
          <dgm:dir/>
          <dgm:animOne val="branch"/>
          <dgm:animLvl val="lvl"/>
          <dgm:resizeHandles/>
        </dgm:presLayoutVars>
      </dgm:prSet>
      <dgm:spPr/>
      <dgm:t>
        <a:bodyPr/>
        <a:lstStyle/>
        <a:p>
          <a:endParaRPr lang="en-US"/>
        </a:p>
      </dgm:t>
    </dgm:pt>
    <dgm:pt modelId="{229B772C-92EA-D74A-92D1-BA0B139CEBAE}" type="pres">
      <dgm:prSet presAssocID="{976E4913-3013-D542-B94C-5F195A6724B7}" presName="hierRoot1" presStyleCnt="0"/>
      <dgm:spPr/>
    </dgm:pt>
    <dgm:pt modelId="{25ED6921-D04F-CC4D-989A-E3019A2E2F4F}" type="pres">
      <dgm:prSet presAssocID="{976E4913-3013-D542-B94C-5F195A6724B7}" presName="composite" presStyleCnt="0"/>
      <dgm:spPr/>
    </dgm:pt>
    <dgm:pt modelId="{1B9369A3-05A5-9A4E-B39B-323DAD44EC7D}" type="pres">
      <dgm:prSet presAssocID="{976E4913-3013-D542-B94C-5F195A6724B7}" presName="background" presStyleLbl="node0" presStyleIdx="0" presStyleCnt="1"/>
      <dgm:spPr/>
    </dgm:pt>
    <dgm:pt modelId="{688CBFC9-CF51-6A4C-A892-4A80D3E91B9C}" type="pres">
      <dgm:prSet presAssocID="{976E4913-3013-D542-B94C-5F195A6724B7}" presName="text" presStyleLbl="fgAcc0" presStyleIdx="0" presStyleCnt="1">
        <dgm:presLayoutVars>
          <dgm:chPref val="3"/>
        </dgm:presLayoutVars>
      </dgm:prSet>
      <dgm:spPr/>
      <dgm:t>
        <a:bodyPr/>
        <a:lstStyle/>
        <a:p>
          <a:endParaRPr lang="en-US"/>
        </a:p>
      </dgm:t>
    </dgm:pt>
    <dgm:pt modelId="{D2D5D9E3-027D-F14B-B70D-86B03D852600}" type="pres">
      <dgm:prSet presAssocID="{976E4913-3013-D542-B94C-5F195A6724B7}" presName="hierChild2" presStyleCnt="0"/>
      <dgm:spPr/>
    </dgm:pt>
    <dgm:pt modelId="{F12BE241-1196-654B-9ADB-5C9E9D65C988}" type="pres">
      <dgm:prSet presAssocID="{2DF65173-E2F5-F64A-B40C-98384386255A}" presName="Name10" presStyleLbl="parChTrans1D2" presStyleIdx="0" presStyleCnt="2"/>
      <dgm:spPr/>
      <dgm:t>
        <a:bodyPr/>
        <a:lstStyle/>
        <a:p>
          <a:endParaRPr lang="en-US"/>
        </a:p>
      </dgm:t>
    </dgm:pt>
    <dgm:pt modelId="{559ABDB8-789F-0F45-A53B-94FF44072887}" type="pres">
      <dgm:prSet presAssocID="{2A39EBA1-2F93-5142-937C-314A1010ED30}" presName="hierRoot2" presStyleCnt="0"/>
      <dgm:spPr/>
    </dgm:pt>
    <dgm:pt modelId="{3BEA5185-E344-1344-B3A7-50647C9554DC}" type="pres">
      <dgm:prSet presAssocID="{2A39EBA1-2F93-5142-937C-314A1010ED30}" presName="composite2" presStyleCnt="0"/>
      <dgm:spPr/>
    </dgm:pt>
    <dgm:pt modelId="{7ECDC231-B0B4-1044-90EF-2671056D5251}" type="pres">
      <dgm:prSet presAssocID="{2A39EBA1-2F93-5142-937C-314A1010ED30}" presName="background2" presStyleLbl="node2" presStyleIdx="0" presStyleCnt="2"/>
      <dgm:spPr/>
    </dgm:pt>
    <dgm:pt modelId="{D4AF2446-8BB2-BC44-9E58-102FAC90164A}" type="pres">
      <dgm:prSet presAssocID="{2A39EBA1-2F93-5142-937C-314A1010ED30}" presName="text2" presStyleLbl="fgAcc2" presStyleIdx="0" presStyleCnt="2">
        <dgm:presLayoutVars>
          <dgm:chPref val="3"/>
        </dgm:presLayoutVars>
      </dgm:prSet>
      <dgm:spPr/>
      <dgm:t>
        <a:bodyPr/>
        <a:lstStyle/>
        <a:p>
          <a:endParaRPr lang="en-US"/>
        </a:p>
      </dgm:t>
    </dgm:pt>
    <dgm:pt modelId="{C796FA4C-8AC7-2A40-B76C-0B05F7B37028}" type="pres">
      <dgm:prSet presAssocID="{2A39EBA1-2F93-5142-937C-314A1010ED30}" presName="hierChild3" presStyleCnt="0"/>
      <dgm:spPr/>
    </dgm:pt>
    <dgm:pt modelId="{2B82377D-A4E1-994D-B2C3-C7E946B729C5}" type="pres">
      <dgm:prSet presAssocID="{5D82BF99-9764-454A-870A-B3235B2BB2CB}" presName="Name17" presStyleLbl="parChTrans1D3" presStyleIdx="0" presStyleCnt="4"/>
      <dgm:spPr/>
      <dgm:t>
        <a:bodyPr/>
        <a:lstStyle/>
        <a:p>
          <a:endParaRPr lang="en-US"/>
        </a:p>
      </dgm:t>
    </dgm:pt>
    <dgm:pt modelId="{EA518B5C-7256-2A4D-A1E4-4E7454366D20}" type="pres">
      <dgm:prSet presAssocID="{184ACB9C-DDC8-4345-B724-0DDDFC50ECAB}" presName="hierRoot3" presStyleCnt="0"/>
      <dgm:spPr/>
    </dgm:pt>
    <dgm:pt modelId="{675B1135-33CB-3E40-82A9-4E2F5BD8F97C}" type="pres">
      <dgm:prSet presAssocID="{184ACB9C-DDC8-4345-B724-0DDDFC50ECAB}" presName="composite3" presStyleCnt="0"/>
      <dgm:spPr/>
    </dgm:pt>
    <dgm:pt modelId="{A3249D03-CDCD-F743-9071-744E300E2489}" type="pres">
      <dgm:prSet presAssocID="{184ACB9C-DDC8-4345-B724-0DDDFC50ECAB}" presName="background3" presStyleLbl="node3" presStyleIdx="0" presStyleCnt="4"/>
      <dgm:spPr/>
    </dgm:pt>
    <dgm:pt modelId="{9A37EE48-0C7B-5543-95BA-2B866B6CFFC5}" type="pres">
      <dgm:prSet presAssocID="{184ACB9C-DDC8-4345-B724-0DDDFC50ECAB}" presName="text3" presStyleLbl="fgAcc3" presStyleIdx="0" presStyleCnt="4">
        <dgm:presLayoutVars>
          <dgm:chPref val="3"/>
        </dgm:presLayoutVars>
      </dgm:prSet>
      <dgm:spPr/>
      <dgm:t>
        <a:bodyPr/>
        <a:lstStyle/>
        <a:p>
          <a:endParaRPr lang="en-US"/>
        </a:p>
      </dgm:t>
    </dgm:pt>
    <dgm:pt modelId="{A12DC939-3AD1-7D4B-A5EA-D4706C2D42B6}" type="pres">
      <dgm:prSet presAssocID="{184ACB9C-DDC8-4345-B724-0DDDFC50ECAB}" presName="hierChild4" presStyleCnt="0"/>
      <dgm:spPr/>
    </dgm:pt>
    <dgm:pt modelId="{91DB0BAF-F501-9549-878A-8E209792FD32}" type="pres">
      <dgm:prSet presAssocID="{30C25A4A-E4DC-3941-B63A-4538CE0511E0}" presName="Name23" presStyleLbl="parChTrans1D4" presStyleIdx="0" presStyleCnt="4"/>
      <dgm:spPr/>
      <dgm:t>
        <a:bodyPr/>
        <a:lstStyle/>
        <a:p>
          <a:endParaRPr lang="en-US"/>
        </a:p>
      </dgm:t>
    </dgm:pt>
    <dgm:pt modelId="{454535BC-1531-954A-821C-B815814A3DC3}" type="pres">
      <dgm:prSet presAssocID="{03CF68B1-6741-C14E-A767-3EEC640D027A}" presName="hierRoot4" presStyleCnt="0"/>
      <dgm:spPr/>
    </dgm:pt>
    <dgm:pt modelId="{4C8A08BC-8DA8-914A-9164-14F6E812D252}" type="pres">
      <dgm:prSet presAssocID="{03CF68B1-6741-C14E-A767-3EEC640D027A}" presName="composite4" presStyleCnt="0"/>
      <dgm:spPr/>
    </dgm:pt>
    <dgm:pt modelId="{013E3F4F-50CC-2B4B-AEC0-1BEA47E18A54}" type="pres">
      <dgm:prSet presAssocID="{03CF68B1-6741-C14E-A767-3EEC640D027A}" presName="background4" presStyleLbl="node4" presStyleIdx="0" presStyleCnt="4"/>
      <dgm:spPr/>
    </dgm:pt>
    <dgm:pt modelId="{5686E0BE-C1C5-EC45-8CAA-7F9452D02E34}" type="pres">
      <dgm:prSet presAssocID="{03CF68B1-6741-C14E-A767-3EEC640D027A}" presName="text4" presStyleLbl="fgAcc4" presStyleIdx="0" presStyleCnt="4">
        <dgm:presLayoutVars>
          <dgm:chPref val="3"/>
        </dgm:presLayoutVars>
      </dgm:prSet>
      <dgm:spPr/>
      <dgm:t>
        <a:bodyPr/>
        <a:lstStyle/>
        <a:p>
          <a:endParaRPr lang="en-US"/>
        </a:p>
      </dgm:t>
    </dgm:pt>
    <dgm:pt modelId="{EC74264F-BAA9-F847-B39A-78D5F65BA350}" type="pres">
      <dgm:prSet presAssocID="{03CF68B1-6741-C14E-A767-3EEC640D027A}" presName="hierChild5" presStyleCnt="0"/>
      <dgm:spPr/>
    </dgm:pt>
    <dgm:pt modelId="{251B4CA8-FD13-D240-A91B-57DBF1DB0415}" type="pres">
      <dgm:prSet presAssocID="{1DCB4C9E-42BF-FB4C-81B6-AAFF8DDAD191}" presName="Name23" presStyleLbl="parChTrans1D4" presStyleIdx="1" presStyleCnt="4"/>
      <dgm:spPr/>
      <dgm:t>
        <a:bodyPr/>
        <a:lstStyle/>
        <a:p>
          <a:endParaRPr lang="en-US"/>
        </a:p>
      </dgm:t>
    </dgm:pt>
    <dgm:pt modelId="{B00B7C9D-05CC-A041-91EE-98E46BEA50E2}" type="pres">
      <dgm:prSet presAssocID="{A7EAC468-2E3D-1042-ADEE-3E290F6F0620}" presName="hierRoot4" presStyleCnt="0"/>
      <dgm:spPr/>
    </dgm:pt>
    <dgm:pt modelId="{57621D9C-612E-E345-806C-D4049E68DB51}" type="pres">
      <dgm:prSet presAssocID="{A7EAC468-2E3D-1042-ADEE-3E290F6F0620}" presName="composite4" presStyleCnt="0"/>
      <dgm:spPr/>
    </dgm:pt>
    <dgm:pt modelId="{F03A88C2-D2CD-2748-B889-C91C65E6E2BB}" type="pres">
      <dgm:prSet presAssocID="{A7EAC468-2E3D-1042-ADEE-3E290F6F0620}" presName="background4" presStyleLbl="node4" presStyleIdx="1" presStyleCnt="4"/>
      <dgm:spPr/>
    </dgm:pt>
    <dgm:pt modelId="{3E6EA152-4905-344C-9D27-1F4340B46C4C}" type="pres">
      <dgm:prSet presAssocID="{A7EAC468-2E3D-1042-ADEE-3E290F6F0620}" presName="text4" presStyleLbl="fgAcc4" presStyleIdx="1" presStyleCnt="4">
        <dgm:presLayoutVars>
          <dgm:chPref val="3"/>
        </dgm:presLayoutVars>
      </dgm:prSet>
      <dgm:spPr/>
      <dgm:t>
        <a:bodyPr/>
        <a:lstStyle/>
        <a:p>
          <a:endParaRPr lang="en-US"/>
        </a:p>
      </dgm:t>
    </dgm:pt>
    <dgm:pt modelId="{250B1162-CE92-F94B-AC3E-A8B9CEDAFD6E}" type="pres">
      <dgm:prSet presAssocID="{A7EAC468-2E3D-1042-ADEE-3E290F6F0620}" presName="hierChild5" presStyleCnt="0"/>
      <dgm:spPr/>
    </dgm:pt>
    <dgm:pt modelId="{787BAEBB-C6A5-4846-B73F-5052A7752B7A}" type="pres">
      <dgm:prSet presAssocID="{97F00291-484C-9643-BB48-501572165824}" presName="Name17" presStyleLbl="parChTrans1D3" presStyleIdx="1" presStyleCnt="4"/>
      <dgm:spPr/>
      <dgm:t>
        <a:bodyPr/>
        <a:lstStyle/>
        <a:p>
          <a:endParaRPr lang="en-US"/>
        </a:p>
      </dgm:t>
    </dgm:pt>
    <dgm:pt modelId="{F33FD33C-98D7-3542-A4BF-0A4DD79261AD}" type="pres">
      <dgm:prSet presAssocID="{3949C127-D417-5447-960D-9A31732C76A6}" presName="hierRoot3" presStyleCnt="0"/>
      <dgm:spPr/>
    </dgm:pt>
    <dgm:pt modelId="{385D75BC-ED43-0641-86E1-17B5BAD20B2F}" type="pres">
      <dgm:prSet presAssocID="{3949C127-D417-5447-960D-9A31732C76A6}" presName="composite3" presStyleCnt="0"/>
      <dgm:spPr/>
    </dgm:pt>
    <dgm:pt modelId="{566569CA-60A1-4C4F-AFF2-CDDC04B70585}" type="pres">
      <dgm:prSet presAssocID="{3949C127-D417-5447-960D-9A31732C76A6}" presName="background3" presStyleLbl="node3" presStyleIdx="1" presStyleCnt="4"/>
      <dgm:spPr/>
    </dgm:pt>
    <dgm:pt modelId="{FB2451F5-A243-E544-B2E0-CD798B574787}" type="pres">
      <dgm:prSet presAssocID="{3949C127-D417-5447-960D-9A31732C76A6}" presName="text3" presStyleLbl="fgAcc3" presStyleIdx="1" presStyleCnt="4">
        <dgm:presLayoutVars>
          <dgm:chPref val="3"/>
        </dgm:presLayoutVars>
      </dgm:prSet>
      <dgm:spPr/>
      <dgm:t>
        <a:bodyPr/>
        <a:lstStyle/>
        <a:p>
          <a:endParaRPr lang="en-US"/>
        </a:p>
      </dgm:t>
    </dgm:pt>
    <dgm:pt modelId="{75D3574E-5C89-4646-882E-07AB6BEC17D5}" type="pres">
      <dgm:prSet presAssocID="{3949C127-D417-5447-960D-9A31732C76A6}" presName="hierChild4" presStyleCnt="0"/>
      <dgm:spPr/>
    </dgm:pt>
    <dgm:pt modelId="{C0E88B73-3140-9B45-ADBE-E381220B76C4}" type="pres">
      <dgm:prSet presAssocID="{4B0DD293-0C83-8647-AD12-E85C913CFE01}" presName="Name23" presStyleLbl="parChTrans1D4" presStyleIdx="2" presStyleCnt="4"/>
      <dgm:spPr/>
      <dgm:t>
        <a:bodyPr/>
        <a:lstStyle/>
        <a:p>
          <a:endParaRPr lang="en-US"/>
        </a:p>
      </dgm:t>
    </dgm:pt>
    <dgm:pt modelId="{65AFCF96-BEAB-2146-9616-04B6CCF46EE4}" type="pres">
      <dgm:prSet presAssocID="{02450672-1453-674F-9568-6D7583B183BB}" presName="hierRoot4" presStyleCnt="0"/>
      <dgm:spPr/>
    </dgm:pt>
    <dgm:pt modelId="{428A51A6-FBD7-5447-9F90-16D5C4AEDCD5}" type="pres">
      <dgm:prSet presAssocID="{02450672-1453-674F-9568-6D7583B183BB}" presName="composite4" presStyleCnt="0"/>
      <dgm:spPr/>
    </dgm:pt>
    <dgm:pt modelId="{D1D63DA7-35DA-2140-8AB4-BBBFE1A99F8C}" type="pres">
      <dgm:prSet presAssocID="{02450672-1453-674F-9568-6D7583B183BB}" presName="background4" presStyleLbl="node4" presStyleIdx="2" presStyleCnt="4"/>
      <dgm:spPr/>
    </dgm:pt>
    <dgm:pt modelId="{ADD942DA-F9AE-A54E-8F58-9123C760AA04}" type="pres">
      <dgm:prSet presAssocID="{02450672-1453-674F-9568-6D7583B183BB}" presName="text4" presStyleLbl="fgAcc4" presStyleIdx="2" presStyleCnt="4">
        <dgm:presLayoutVars>
          <dgm:chPref val="3"/>
        </dgm:presLayoutVars>
      </dgm:prSet>
      <dgm:spPr/>
      <dgm:t>
        <a:bodyPr/>
        <a:lstStyle/>
        <a:p>
          <a:endParaRPr lang="en-US"/>
        </a:p>
      </dgm:t>
    </dgm:pt>
    <dgm:pt modelId="{3BA4C0C6-707A-CE44-B709-9A78331EA730}" type="pres">
      <dgm:prSet presAssocID="{02450672-1453-674F-9568-6D7583B183BB}" presName="hierChild5" presStyleCnt="0"/>
      <dgm:spPr/>
    </dgm:pt>
    <dgm:pt modelId="{4BDD72AF-9300-FE41-87F4-27880B7B7760}" type="pres">
      <dgm:prSet presAssocID="{A2AF27BC-FA34-6E4F-8DB7-4D55D30B4731}" presName="Name23" presStyleLbl="parChTrans1D4" presStyleIdx="3" presStyleCnt="4"/>
      <dgm:spPr/>
      <dgm:t>
        <a:bodyPr/>
        <a:lstStyle/>
        <a:p>
          <a:endParaRPr lang="en-US"/>
        </a:p>
      </dgm:t>
    </dgm:pt>
    <dgm:pt modelId="{72F4D759-43D3-C442-A09F-B4C61A31E41E}" type="pres">
      <dgm:prSet presAssocID="{90DECB6B-6422-BE49-B301-A3E12E66236F}" presName="hierRoot4" presStyleCnt="0"/>
      <dgm:spPr/>
    </dgm:pt>
    <dgm:pt modelId="{C2F8B43B-B426-904A-801B-33FB61348AE2}" type="pres">
      <dgm:prSet presAssocID="{90DECB6B-6422-BE49-B301-A3E12E66236F}" presName="composite4" presStyleCnt="0"/>
      <dgm:spPr/>
    </dgm:pt>
    <dgm:pt modelId="{B406D17C-37E4-654E-844A-37B1D1EE2181}" type="pres">
      <dgm:prSet presAssocID="{90DECB6B-6422-BE49-B301-A3E12E66236F}" presName="background4" presStyleLbl="node4" presStyleIdx="3" presStyleCnt="4"/>
      <dgm:spPr/>
    </dgm:pt>
    <dgm:pt modelId="{1CC27B90-AC9A-2A4F-BC62-34743178EAEA}" type="pres">
      <dgm:prSet presAssocID="{90DECB6B-6422-BE49-B301-A3E12E66236F}" presName="text4" presStyleLbl="fgAcc4" presStyleIdx="3" presStyleCnt="4">
        <dgm:presLayoutVars>
          <dgm:chPref val="3"/>
        </dgm:presLayoutVars>
      </dgm:prSet>
      <dgm:spPr/>
      <dgm:t>
        <a:bodyPr/>
        <a:lstStyle/>
        <a:p>
          <a:endParaRPr lang="en-US"/>
        </a:p>
      </dgm:t>
    </dgm:pt>
    <dgm:pt modelId="{9B1C7C5B-B527-5842-8392-11C0F3954104}" type="pres">
      <dgm:prSet presAssocID="{90DECB6B-6422-BE49-B301-A3E12E66236F}" presName="hierChild5" presStyleCnt="0"/>
      <dgm:spPr/>
    </dgm:pt>
    <dgm:pt modelId="{3C56EFE0-A99A-1A4E-8820-C664E6B497CB}" type="pres">
      <dgm:prSet presAssocID="{9381EFED-55ED-EB40-BFBF-E3D20E39599B}" presName="Name10" presStyleLbl="parChTrans1D2" presStyleIdx="1" presStyleCnt="2"/>
      <dgm:spPr/>
      <dgm:t>
        <a:bodyPr/>
        <a:lstStyle/>
        <a:p>
          <a:endParaRPr lang="en-US"/>
        </a:p>
      </dgm:t>
    </dgm:pt>
    <dgm:pt modelId="{6E66499E-611A-7447-9B15-820BC0E81A08}" type="pres">
      <dgm:prSet presAssocID="{44407743-FA8C-3841-943E-4FC86D85CCD9}" presName="hierRoot2" presStyleCnt="0"/>
      <dgm:spPr/>
    </dgm:pt>
    <dgm:pt modelId="{6750678C-050F-1C4F-A92D-84DE20681905}" type="pres">
      <dgm:prSet presAssocID="{44407743-FA8C-3841-943E-4FC86D85CCD9}" presName="composite2" presStyleCnt="0"/>
      <dgm:spPr/>
    </dgm:pt>
    <dgm:pt modelId="{8AF0E105-A16A-614F-9F50-33C446FC97DD}" type="pres">
      <dgm:prSet presAssocID="{44407743-FA8C-3841-943E-4FC86D85CCD9}" presName="background2" presStyleLbl="node2" presStyleIdx="1" presStyleCnt="2"/>
      <dgm:spPr/>
    </dgm:pt>
    <dgm:pt modelId="{21234BA2-BC97-994E-8051-7A5DB50E6C0B}" type="pres">
      <dgm:prSet presAssocID="{44407743-FA8C-3841-943E-4FC86D85CCD9}" presName="text2" presStyleLbl="fgAcc2" presStyleIdx="1" presStyleCnt="2">
        <dgm:presLayoutVars>
          <dgm:chPref val="3"/>
        </dgm:presLayoutVars>
      </dgm:prSet>
      <dgm:spPr/>
      <dgm:t>
        <a:bodyPr/>
        <a:lstStyle/>
        <a:p>
          <a:endParaRPr lang="en-US"/>
        </a:p>
      </dgm:t>
    </dgm:pt>
    <dgm:pt modelId="{3A956C71-E8B4-8B4A-93F0-EA2F0DE7CCA0}" type="pres">
      <dgm:prSet presAssocID="{44407743-FA8C-3841-943E-4FC86D85CCD9}" presName="hierChild3" presStyleCnt="0"/>
      <dgm:spPr/>
    </dgm:pt>
    <dgm:pt modelId="{7896787E-B596-3D47-AF70-7BF1181711DA}" type="pres">
      <dgm:prSet presAssocID="{1732B170-B9E5-8745-A394-50C5CD9598D2}" presName="Name17" presStyleLbl="parChTrans1D3" presStyleIdx="2" presStyleCnt="4"/>
      <dgm:spPr/>
      <dgm:t>
        <a:bodyPr/>
        <a:lstStyle/>
        <a:p>
          <a:endParaRPr lang="en-US"/>
        </a:p>
      </dgm:t>
    </dgm:pt>
    <dgm:pt modelId="{6E61B842-0A2C-EE4F-B07C-A4ECEB8F964B}" type="pres">
      <dgm:prSet presAssocID="{6199E3C3-062C-F241-B17E-C01235C54BF5}" presName="hierRoot3" presStyleCnt="0"/>
      <dgm:spPr/>
    </dgm:pt>
    <dgm:pt modelId="{FD5E0805-28B0-F14E-8FC8-ECA7EAEC278F}" type="pres">
      <dgm:prSet presAssocID="{6199E3C3-062C-F241-B17E-C01235C54BF5}" presName="composite3" presStyleCnt="0"/>
      <dgm:spPr/>
    </dgm:pt>
    <dgm:pt modelId="{F00C627A-CA09-774E-B3EA-B343D1757425}" type="pres">
      <dgm:prSet presAssocID="{6199E3C3-062C-F241-B17E-C01235C54BF5}" presName="background3" presStyleLbl="node3" presStyleIdx="2" presStyleCnt="4"/>
      <dgm:spPr/>
    </dgm:pt>
    <dgm:pt modelId="{87D53768-DAC1-DD48-9C31-590E8B87F5E8}" type="pres">
      <dgm:prSet presAssocID="{6199E3C3-062C-F241-B17E-C01235C54BF5}" presName="text3" presStyleLbl="fgAcc3" presStyleIdx="2" presStyleCnt="4">
        <dgm:presLayoutVars>
          <dgm:chPref val="3"/>
        </dgm:presLayoutVars>
      </dgm:prSet>
      <dgm:spPr/>
      <dgm:t>
        <a:bodyPr/>
        <a:lstStyle/>
        <a:p>
          <a:endParaRPr lang="en-US"/>
        </a:p>
      </dgm:t>
    </dgm:pt>
    <dgm:pt modelId="{E1BCCF2F-6156-1041-9ACF-B00FBB6814F0}" type="pres">
      <dgm:prSet presAssocID="{6199E3C3-062C-F241-B17E-C01235C54BF5}" presName="hierChild4" presStyleCnt="0"/>
      <dgm:spPr/>
    </dgm:pt>
    <dgm:pt modelId="{2BA02BDE-F9F8-534B-AFBE-F69D41738C15}" type="pres">
      <dgm:prSet presAssocID="{4AA2CFA8-FECD-C244-AE70-A104540C25B7}" presName="Name17" presStyleLbl="parChTrans1D3" presStyleIdx="3" presStyleCnt="4"/>
      <dgm:spPr/>
      <dgm:t>
        <a:bodyPr/>
        <a:lstStyle/>
        <a:p>
          <a:endParaRPr lang="en-US"/>
        </a:p>
      </dgm:t>
    </dgm:pt>
    <dgm:pt modelId="{3CEC845E-8AA7-044C-A770-6D14EC9BBB9A}" type="pres">
      <dgm:prSet presAssocID="{76DF730F-6FAD-2C42-84B0-06DCA06D35AB}" presName="hierRoot3" presStyleCnt="0"/>
      <dgm:spPr/>
    </dgm:pt>
    <dgm:pt modelId="{9A4A965F-8CC5-A04E-AD23-3B8C3C217C85}" type="pres">
      <dgm:prSet presAssocID="{76DF730F-6FAD-2C42-84B0-06DCA06D35AB}" presName="composite3" presStyleCnt="0"/>
      <dgm:spPr/>
    </dgm:pt>
    <dgm:pt modelId="{EA772503-3539-5E48-A49C-0DC39BAFCA0C}" type="pres">
      <dgm:prSet presAssocID="{76DF730F-6FAD-2C42-84B0-06DCA06D35AB}" presName="background3" presStyleLbl="node3" presStyleIdx="3" presStyleCnt="4"/>
      <dgm:spPr/>
    </dgm:pt>
    <dgm:pt modelId="{E08874E8-AAE7-6743-B9EF-1E82EF8809A9}" type="pres">
      <dgm:prSet presAssocID="{76DF730F-6FAD-2C42-84B0-06DCA06D35AB}" presName="text3" presStyleLbl="fgAcc3" presStyleIdx="3" presStyleCnt="4">
        <dgm:presLayoutVars>
          <dgm:chPref val="3"/>
        </dgm:presLayoutVars>
      </dgm:prSet>
      <dgm:spPr/>
      <dgm:t>
        <a:bodyPr/>
        <a:lstStyle/>
        <a:p>
          <a:endParaRPr lang="en-US"/>
        </a:p>
      </dgm:t>
    </dgm:pt>
    <dgm:pt modelId="{755B5F42-C6C9-0143-B732-2B364080C6B6}" type="pres">
      <dgm:prSet presAssocID="{76DF730F-6FAD-2C42-84B0-06DCA06D35AB}" presName="hierChild4" presStyleCnt="0"/>
      <dgm:spPr/>
    </dgm:pt>
  </dgm:ptLst>
  <dgm:cxnLst>
    <dgm:cxn modelId="{F0A8B6DA-4654-D74F-9494-8852D25778A6}" type="presOf" srcId="{976E4913-3013-D542-B94C-5F195A6724B7}" destId="{688CBFC9-CF51-6A4C-A892-4A80D3E91B9C}" srcOrd="0" destOrd="0" presId="urn:microsoft.com/office/officeart/2005/8/layout/hierarchy1"/>
    <dgm:cxn modelId="{661595BE-6508-1047-9FFB-B87CEDB43E3E}" srcId="{44407743-FA8C-3841-943E-4FC86D85CCD9}" destId="{76DF730F-6FAD-2C42-84B0-06DCA06D35AB}" srcOrd="1" destOrd="0" parTransId="{4AA2CFA8-FECD-C244-AE70-A104540C25B7}" sibTransId="{2FA1D702-26A1-6244-891B-F6D4BD0E4F28}"/>
    <dgm:cxn modelId="{1457CAEE-F7FA-7543-B39D-3406CFC477D1}" type="presOf" srcId="{184ACB9C-DDC8-4345-B724-0DDDFC50ECAB}" destId="{9A37EE48-0C7B-5543-95BA-2B866B6CFFC5}" srcOrd="0" destOrd="0" presId="urn:microsoft.com/office/officeart/2005/8/layout/hierarchy1"/>
    <dgm:cxn modelId="{14322F85-A2F5-E84D-A1EF-B4C262155297}" srcId="{976E4913-3013-D542-B94C-5F195A6724B7}" destId="{44407743-FA8C-3841-943E-4FC86D85CCD9}" srcOrd="1" destOrd="0" parTransId="{9381EFED-55ED-EB40-BFBF-E3D20E39599B}" sibTransId="{7A81C806-E05F-A74A-998E-B0EB6B022A63}"/>
    <dgm:cxn modelId="{D555F826-D834-7E4F-83BD-A28940C2B6A1}" type="presOf" srcId="{76DF730F-6FAD-2C42-84B0-06DCA06D35AB}" destId="{E08874E8-AAE7-6743-B9EF-1E82EF8809A9}" srcOrd="0" destOrd="0" presId="urn:microsoft.com/office/officeart/2005/8/layout/hierarchy1"/>
    <dgm:cxn modelId="{9E30992E-0A2B-3A4F-B77B-9D25E6BABF8C}" type="presOf" srcId="{97F00291-484C-9643-BB48-501572165824}" destId="{787BAEBB-C6A5-4846-B73F-5052A7752B7A}" srcOrd="0" destOrd="0" presId="urn:microsoft.com/office/officeart/2005/8/layout/hierarchy1"/>
    <dgm:cxn modelId="{369C82ED-0660-1048-93E2-E87D0983B5B0}" type="presOf" srcId="{9381EFED-55ED-EB40-BFBF-E3D20E39599B}" destId="{3C56EFE0-A99A-1A4E-8820-C664E6B497CB}" srcOrd="0" destOrd="0" presId="urn:microsoft.com/office/officeart/2005/8/layout/hierarchy1"/>
    <dgm:cxn modelId="{32D03DD7-38FA-C14B-9FD0-E614AF2CAFD4}" srcId="{184ACB9C-DDC8-4345-B724-0DDDFC50ECAB}" destId="{A7EAC468-2E3D-1042-ADEE-3E290F6F0620}" srcOrd="1" destOrd="0" parTransId="{1DCB4C9E-42BF-FB4C-81B6-AAFF8DDAD191}" sibTransId="{0BECE94C-79F0-F449-8633-711FCF4BFE62}"/>
    <dgm:cxn modelId="{B6F39787-1FF4-1E4F-8D94-43FACCBFFFCF}" type="presOf" srcId="{FD2DC9C9-CCF8-6D47-A8AF-7E8440F609A2}" destId="{041119CE-361E-6D4A-9899-F5AB6B6B890A}" srcOrd="0" destOrd="0" presId="urn:microsoft.com/office/officeart/2005/8/layout/hierarchy1"/>
    <dgm:cxn modelId="{AE41E93C-8516-5342-A4E3-DFA0200A343B}" srcId="{FD2DC9C9-CCF8-6D47-A8AF-7E8440F609A2}" destId="{976E4913-3013-D542-B94C-5F195A6724B7}" srcOrd="0" destOrd="0" parTransId="{84BCC4DA-0C9B-9840-AE25-C39D2CEBB720}" sibTransId="{1EA03C99-4980-B54B-B863-97E3E8430D8C}"/>
    <dgm:cxn modelId="{E1F02544-BDB4-CF43-9039-9AF0BC78A94A}" type="presOf" srcId="{90DECB6B-6422-BE49-B301-A3E12E66236F}" destId="{1CC27B90-AC9A-2A4F-BC62-34743178EAEA}" srcOrd="0" destOrd="0" presId="urn:microsoft.com/office/officeart/2005/8/layout/hierarchy1"/>
    <dgm:cxn modelId="{29D7EFC8-07C3-B247-ABB3-8DA25DA2CE21}" type="presOf" srcId="{A2AF27BC-FA34-6E4F-8DB7-4D55D30B4731}" destId="{4BDD72AF-9300-FE41-87F4-27880B7B7760}" srcOrd="0" destOrd="0" presId="urn:microsoft.com/office/officeart/2005/8/layout/hierarchy1"/>
    <dgm:cxn modelId="{B807CD84-65C2-6D48-B742-4D6C6154D9E3}" srcId="{976E4913-3013-D542-B94C-5F195A6724B7}" destId="{2A39EBA1-2F93-5142-937C-314A1010ED30}" srcOrd="0" destOrd="0" parTransId="{2DF65173-E2F5-F64A-B40C-98384386255A}" sibTransId="{1EF18E59-6D25-3443-A842-04859CF4EFDE}"/>
    <dgm:cxn modelId="{77B452E5-025C-3B4C-8206-CD09B76AED39}" type="presOf" srcId="{1732B170-B9E5-8745-A394-50C5CD9598D2}" destId="{7896787E-B596-3D47-AF70-7BF1181711DA}" srcOrd="0" destOrd="0" presId="urn:microsoft.com/office/officeart/2005/8/layout/hierarchy1"/>
    <dgm:cxn modelId="{C503CBBC-033C-F142-A2F1-EBBD1CF52292}" type="presOf" srcId="{2DF65173-E2F5-F64A-B40C-98384386255A}" destId="{F12BE241-1196-654B-9ADB-5C9E9D65C988}" srcOrd="0" destOrd="0" presId="urn:microsoft.com/office/officeart/2005/8/layout/hierarchy1"/>
    <dgm:cxn modelId="{A588CB04-9565-8E41-82A3-9CE8DACA8765}" type="presOf" srcId="{4AA2CFA8-FECD-C244-AE70-A104540C25B7}" destId="{2BA02BDE-F9F8-534B-AFBE-F69D41738C15}" srcOrd="0" destOrd="0" presId="urn:microsoft.com/office/officeart/2005/8/layout/hierarchy1"/>
    <dgm:cxn modelId="{5A589717-ECE6-0644-8377-615482939D2A}" srcId="{184ACB9C-DDC8-4345-B724-0DDDFC50ECAB}" destId="{03CF68B1-6741-C14E-A767-3EEC640D027A}" srcOrd="0" destOrd="0" parTransId="{30C25A4A-E4DC-3941-B63A-4538CE0511E0}" sibTransId="{8024D8B6-01B5-454C-9678-8CF31DA62376}"/>
    <dgm:cxn modelId="{2E029292-59A2-7046-8AE6-6056F8FD972F}" type="presOf" srcId="{1DCB4C9E-42BF-FB4C-81B6-AAFF8DDAD191}" destId="{251B4CA8-FD13-D240-A91B-57DBF1DB0415}" srcOrd="0" destOrd="0" presId="urn:microsoft.com/office/officeart/2005/8/layout/hierarchy1"/>
    <dgm:cxn modelId="{82D74333-4825-1745-BDD0-A076FE1A0E15}" type="presOf" srcId="{02450672-1453-674F-9568-6D7583B183BB}" destId="{ADD942DA-F9AE-A54E-8F58-9123C760AA04}" srcOrd="0" destOrd="0" presId="urn:microsoft.com/office/officeart/2005/8/layout/hierarchy1"/>
    <dgm:cxn modelId="{CB4D4C3E-E8AA-3440-9722-AA4E24683411}" type="presOf" srcId="{03CF68B1-6741-C14E-A767-3EEC640D027A}" destId="{5686E0BE-C1C5-EC45-8CAA-7F9452D02E34}" srcOrd="0" destOrd="0" presId="urn:microsoft.com/office/officeart/2005/8/layout/hierarchy1"/>
    <dgm:cxn modelId="{1AEFA2F8-1604-DC46-9FF2-61B9ED18EA1A}" type="presOf" srcId="{30C25A4A-E4DC-3941-B63A-4538CE0511E0}" destId="{91DB0BAF-F501-9549-878A-8E209792FD32}" srcOrd="0" destOrd="0" presId="urn:microsoft.com/office/officeart/2005/8/layout/hierarchy1"/>
    <dgm:cxn modelId="{0585C621-BA38-2449-8E8B-796FB46E0182}" srcId="{2A39EBA1-2F93-5142-937C-314A1010ED30}" destId="{184ACB9C-DDC8-4345-B724-0DDDFC50ECAB}" srcOrd="0" destOrd="0" parTransId="{5D82BF99-9764-454A-870A-B3235B2BB2CB}" sibTransId="{BDCBA3D6-C501-0A47-88CA-72E8E5C02827}"/>
    <dgm:cxn modelId="{DDD00635-51F9-E24C-9EE4-C1B3D409B6AE}" type="presOf" srcId="{5D82BF99-9764-454A-870A-B3235B2BB2CB}" destId="{2B82377D-A4E1-994D-B2C3-C7E946B729C5}" srcOrd="0" destOrd="0" presId="urn:microsoft.com/office/officeart/2005/8/layout/hierarchy1"/>
    <dgm:cxn modelId="{86040578-F333-9840-9B65-1F28B3ECD03C}" srcId="{3949C127-D417-5447-960D-9A31732C76A6}" destId="{02450672-1453-674F-9568-6D7583B183BB}" srcOrd="0" destOrd="0" parTransId="{4B0DD293-0C83-8647-AD12-E85C913CFE01}" sibTransId="{952FA72D-BF7D-D649-9097-85E160A252FA}"/>
    <dgm:cxn modelId="{B3ED3C88-7F00-EA40-8092-46FD6B97C7FB}" type="presOf" srcId="{3949C127-D417-5447-960D-9A31732C76A6}" destId="{FB2451F5-A243-E544-B2E0-CD798B574787}" srcOrd="0" destOrd="0" presId="urn:microsoft.com/office/officeart/2005/8/layout/hierarchy1"/>
    <dgm:cxn modelId="{E6A5FFCA-E979-3E4C-8E55-A55652A590AB}" type="presOf" srcId="{6199E3C3-062C-F241-B17E-C01235C54BF5}" destId="{87D53768-DAC1-DD48-9C31-590E8B87F5E8}" srcOrd="0" destOrd="0" presId="urn:microsoft.com/office/officeart/2005/8/layout/hierarchy1"/>
    <dgm:cxn modelId="{CACD0C6F-1EB0-5941-B773-3AF4751C3D75}" type="presOf" srcId="{A7EAC468-2E3D-1042-ADEE-3E290F6F0620}" destId="{3E6EA152-4905-344C-9D27-1F4340B46C4C}" srcOrd="0" destOrd="0" presId="urn:microsoft.com/office/officeart/2005/8/layout/hierarchy1"/>
    <dgm:cxn modelId="{BEFF8E41-1FA3-754D-BB1A-BB8ADA37B9BC}" srcId="{44407743-FA8C-3841-943E-4FC86D85CCD9}" destId="{6199E3C3-062C-F241-B17E-C01235C54BF5}" srcOrd="0" destOrd="0" parTransId="{1732B170-B9E5-8745-A394-50C5CD9598D2}" sibTransId="{E0A7A375-BF54-964C-86BB-66D1D89B52FD}"/>
    <dgm:cxn modelId="{DE75F3E8-CF36-5F42-BADB-7078A29D0587}" type="presOf" srcId="{44407743-FA8C-3841-943E-4FC86D85CCD9}" destId="{21234BA2-BC97-994E-8051-7A5DB50E6C0B}" srcOrd="0" destOrd="0" presId="urn:microsoft.com/office/officeart/2005/8/layout/hierarchy1"/>
    <dgm:cxn modelId="{A7D4D30F-F04E-424A-BC8D-10BB50EDAAC3}" type="presOf" srcId="{2A39EBA1-2F93-5142-937C-314A1010ED30}" destId="{D4AF2446-8BB2-BC44-9E58-102FAC90164A}" srcOrd="0" destOrd="0" presId="urn:microsoft.com/office/officeart/2005/8/layout/hierarchy1"/>
    <dgm:cxn modelId="{024E7B52-F85E-7D45-BE35-19A81F8265A9}" srcId="{3949C127-D417-5447-960D-9A31732C76A6}" destId="{90DECB6B-6422-BE49-B301-A3E12E66236F}" srcOrd="1" destOrd="0" parTransId="{A2AF27BC-FA34-6E4F-8DB7-4D55D30B4731}" sibTransId="{0ACE4F66-ABF0-3C43-833C-FF3059225E1E}"/>
    <dgm:cxn modelId="{3E44F089-2635-AF49-B541-787582491816}" srcId="{2A39EBA1-2F93-5142-937C-314A1010ED30}" destId="{3949C127-D417-5447-960D-9A31732C76A6}" srcOrd="1" destOrd="0" parTransId="{97F00291-484C-9643-BB48-501572165824}" sibTransId="{6B0EF262-C553-C64C-A1AF-8F442A059D90}"/>
    <dgm:cxn modelId="{076FC7CC-B31B-F746-A3C7-E52F06BB8B9C}" type="presOf" srcId="{4B0DD293-0C83-8647-AD12-E85C913CFE01}" destId="{C0E88B73-3140-9B45-ADBE-E381220B76C4}" srcOrd="0" destOrd="0" presId="urn:microsoft.com/office/officeart/2005/8/layout/hierarchy1"/>
    <dgm:cxn modelId="{87219544-C908-264A-9A1B-2C502A139BDF}" type="presParOf" srcId="{041119CE-361E-6D4A-9899-F5AB6B6B890A}" destId="{229B772C-92EA-D74A-92D1-BA0B139CEBAE}" srcOrd="0" destOrd="0" presId="urn:microsoft.com/office/officeart/2005/8/layout/hierarchy1"/>
    <dgm:cxn modelId="{426491BC-2A46-FA46-9321-3DE9AC10AB0A}" type="presParOf" srcId="{229B772C-92EA-D74A-92D1-BA0B139CEBAE}" destId="{25ED6921-D04F-CC4D-989A-E3019A2E2F4F}" srcOrd="0" destOrd="0" presId="urn:microsoft.com/office/officeart/2005/8/layout/hierarchy1"/>
    <dgm:cxn modelId="{FF5501CB-2D01-8644-8C57-D473ADEEC27E}" type="presParOf" srcId="{25ED6921-D04F-CC4D-989A-E3019A2E2F4F}" destId="{1B9369A3-05A5-9A4E-B39B-323DAD44EC7D}" srcOrd="0" destOrd="0" presId="urn:microsoft.com/office/officeart/2005/8/layout/hierarchy1"/>
    <dgm:cxn modelId="{9C16F696-D032-A040-B4A8-400A14B571C1}" type="presParOf" srcId="{25ED6921-D04F-CC4D-989A-E3019A2E2F4F}" destId="{688CBFC9-CF51-6A4C-A892-4A80D3E91B9C}" srcOrd="1" destOrd="0" presId="urn:microsoft.com/office/officeart/2005/8/layout/hierarchy1"/>
    <dgm:cxn modelId="{0D2FE5CA-44A6-6E4A-8C34-9D8F3E5E48F4}" type="presParOf" srcId="{229B772C-92EA-D74A-92D1-BA0B139CEBAE}" destId="{D2D5D9E3-027D-F14B-B70D-86B03D852600}" srcOrd="1" destOrd="0" presId="urn:microsoft.com/office/officeart/2005/8/layout/hierarchy1"/>
    <dgm:cxn modelId="{BD4FE162-2FCA-3D45-81CA-06992951DAAF}" type="presParOf" srcId="{D2D5D9E3-027D-F14B-B70D-86B03D852600}" destId="{F12BE241-1196-654B-9ADB-5C9E9D65C988}" srcOrd="0" destOrd="0" presId="urn:microsoft.com/office/officeart/2005/8/layout/hierarchy1"/>
    <dgm:cxn modelId="{9753B282-99C5-8545-8EC2-12EB1113F513}" type="presParOf" srcId="{D2D5D9E3-027D-F14B-B70D-86B03D852600}" destId="{559ABDB8-789F-0F45-A53B-94FF44072887}" srcOrd="1" destOrd="0" presId="urn:microsoft.com/office/officeart/2005/8/layout/hierarchy1"/>
    <dgm:cxn modelId="{EEB411D9-F3BC-BD46-A854-4F4825DB2DE4}" type="presParOf" srcId="{559ABDB8-789F-0F45-A53B-94FF44072887}" destId="{3BEA5185-E344-1344-B3A7-50647C9554DC}" srcOrd="0" destOrd="0" presId="urn:microsoft.com/office/officeart/2005/8/layout/hierarchy1"/>
    <dgm:cxn modelId="{5491A942-45B5-B34B-A1CB-AF403FDDB4CD}" type="presParOf" srcId="{3BEA5185-E344-1344-B3A7-50647C9554DC}" destId="{7ECDC231-B0B4-1044-90EF-2671056D5251}" srcOrd="0" destOrd="0" presId="urn:microsoft.com/office/officeart/2005/8/layout/hierarchy1"/>
    <dgm:cxn modelId="{19F211C9-1FBC-084D-8BFC-15AC896EF7B4}" type="presParOf" srcId="{3BEA5185-E344-1344-B3A7-50647C9554DC}" destId="{D4AF2446-8BB2-BC44-9E58-102FAC90164A}" srcOrd="1" destOrd="0" presId="urn:microsoft.com/office/officeart/2005/8/layout/hierarchy1"/>
    <dgm:cxn modelId="{719F9AA3-DF7C-E648-BB7C-DE74211FB2DB}" type="presParOf" srcId="{559ABDB8-789F-0F45-A53B-94FF44072887}" destId="{C796FA4C-8AC7-2A40-B76C-0B05F7B37028}" srcOrd="1" destOrd="0" presId="urn:microsoft.com/office/officeart/2005/8/layout/hierarchy1"/>
    <dgm:cxn modelId="{C1F93158-A175-994C-960D-C9F394440FB9}" type="presParOf" srcId="{C796FA4C-8AC7-2A40-B76C-0B05F7B37028}" destId="{2B82377D-A4E1-994D-B2C3-C7E946B729C5}" srcOrd="0" destOrd="0" presId="urn:microsoft.com/office/officeart/2005/8/layout/hierarchy1"/>
    <dgm:cxn modelId="{959C4D58-9C5E-9A45-B36C-C5E45CA86746}" type="presParOf" srcId="{C796FA4C-8AC7-2A40-B76C-0B05F7B37028}" destId="{EA518B5C-7256-2A4D-A1E4-4E7454366D20}" srcOrd="1" destOrd="0" presId="urn:microsoft.com/office/officeart/2005/8/layout/hierarchy1"/>
    <dgm:cxn modelId="{F092FF28-832C-754D-8173-9000FC417367}" type="presParOf" srcId="{EA518B5C-7256-2A4D-A1E4-4E7454366D20}" destId="{675B1135-33CB-3E40-82A9-4E2F5BD8F97C}" srcOrd="0" destOrd="0" presId="urn:microsoft.com/office/officeart/2005/8/layout/hierarchy1"/>
    <dgm:cxn modelId="{6FB5FF93-E87E-0644-9608-7C83C1146CBA}" type="presParOf" srcId="{675B1135-33CB-3E40-82A9-4E2F5BD8F97C}" destId="{A3249D03-CDCD-F743-9071-744E300E2489}" srcOrd="0" destOrd="0" presId="urn:microsoft.com/office/officeart/2005/8/layout/hierarchy1"/>
    <dgm:cxn modelId="{0DF5C8D9-2939-6640-9F7E-C3BB361E8164}" type="presParOf" srcId="{675B1135-33CB-3E40-82A9-4E2F5BD8F97C}" destId="{9A37EE48-0C7B-5543-95BA-2B866B6CFFC5}" srcOrd="1" destOrd="0" presId="urn:microsoft.com/office/officeart/2005/8/layout/hierarchy1"/>
    <dgm:cxn modelId="{659E6BC3-D978-8F48-93C4-F5AE358BD47E}" type="presParOf" srcId="{EA518B5C-7256-2A4D-A1E4-4E7454366D20}" destId="{A12DC939-3AD1-7D4B-A5EA-D4706C2D42B6}" srcOrd="1" destOrd="0" presId="urn:microsoft.com/office/officeart/2005/8/layout/hierarchy1"/>
    <dgm:cxn modelId="{334124D5-6D64-F842-B2D8-0F6A8C3B733E}" type="presParOf" srcId="{A12DC939-3AD1-7D4B-A5EA-D4706C2D42B6}" destId="{91DB0BAF-F501-9549-878A-8E209792FD32}" srcOrd="0" destOrd="0" presId="urn:microsoft.com/office/officeart/2005/8/layout/hierarchy1"/>
    <dgm:cxn modelId="{29BC8293-296B-9042-B9CD-14DD4612CA18}" type="presParOf" srcId="{A12DC939-3AD1-7D4B-A5EA-D4706C2D42B6}" destId="{454535BC-1531-954A-821C-B815814A3DC3}" srcOrd="1" destOrd="0" presId="urn:microsoft.com/office/officeart/2005/8/layout/hierarchy1"/>
    <dgm:cxn modelId="{52A7B35D-2708-244F-A8E3-2CF680A6A06C}" type="presParOf" srcId="{454535BC-1531-954A-821C-B815814A3DC3}" destId="{4C8A08BC-8DA8-914A-9164-14F6E812D252}" srcOrd="0" destOrd="0" presId="urn:microsoft.com/office/officeart/2005/8/layout/hierarchy1"/>
    <dgm:cxn modelId="{BD20067B-2972-D24A-97F9-0C3B7675A30D}" type="presParOf" srcId="{4C8A08BC-8DA8-914A-9164-14F6E812D252}" destId="{013E3F4F-50CC-2B4B-AEC0-1BEA47E18A54}" srcOrd="0" destOrd="0" presId="urn:microsoft.com/office/officeart/2005/8/layout/hierarchy1"/>
    <dgm:cxn modelId="{F0B2948C-62C2-7844-AEF8-D5F2105B7020}" type="presParOf" srcId="{4C8A08BC-8DA8-914A-9164-14F6E812D252}" destId="{5686E0BE-C1C5-EC45-8CAA-7F9452D02E34}" srcOrd="1" destOrd="0" presId="urn:microsoft.com/office/officeart/2005/8/layout/hierarchy1"/>
    <dgm:cxn modelId="{0977EA53-5EE9-CD48-85B6-4D377038DF34}" type="presParOf" srcId="{454535BC-1531-954A-821C-B815814A3DC3}" destId="{EC74264F-BAA9-F847-B39A-78D5F65BA350}" srcOrd="1" destOrd="0" presId="urn:microsoft.com/office/officeart/2005/8/layout/hierarchy1"/>
    <dgm:cxn modelId="{0BAD5A92-D394-304D-AFC9-C38107B7C26A}" type="presParOf" srcId="{A12DC939-3AD1-7D4B-A5EA-D4706C2D42B6}" destId="{251B4CA8-FD13-D240-A91B-57DBF1DB0415}" srcOrd="2" destOrd="0" presId="urn:microsoft.com/office/officeart/2005/8/layout/hierarchy1"/>
    <dgm:cxn modelId="{CFFA398F-4EC6-EF4E-A8EB-62489DEEFC54}" type="presParOf" srcId="{A12DC939-3AD1-7D4B-A5EA-D4706C2D42B6}" destId="{B00B7C9D-05CC-A041-91EE-98E46BEA50E2}" srcOrd="3" destOrd="0" presId="urn:microsoft.com/office/officeart/2005/8/layout/hierarchy1"/>
    <dgm:cxn modelId="{7D56FC03-C2FD-4549-8F99-B7FB69131FDA}" type="presParOf" srcId="{B00B7C9D-05CC-A041-91EE-98E46BEA50E2}" destId="{57621D9C-612E-E345-806C-D4049E68DB51}" srcOrd="0" destOrd="0" presId="urn:microsoft.com/office/officeart/2005/8/layout/hierarchy1"/>
    <dgm:cxn modelId="{E8747357-925B-3543-896B-99C1C44ED316}" type="presParOf" srcId="{57621D9C-612E-E345-806C-D4049E68DB51}" destId="{F03A88C2-D2CD-2748-B889-C91C65E6E2BB}" srcOrd="0" destOrd="0" presId="urn:microsoft.com/office/officeart/2005/8/layout/hierarchy1"/>
    <dgm:cxn modelId="{2D7BE652-9BEA-D344-B19F-1D1CC3D367AE}" type="presParOf" srcId="{57621D9C-612E-E345-806C-D4049E68DB51}" destId="{3E6EA152-4905-344C-9D27-1F4340B46C4C}" srcOrd="1" destOrd="0" presId="urn:microsoft.com/office/officeart/2005/8/layout/hierarchy1"/>
    <dgm:cxn modelId="{6E4508A5-647A-AD4E-BBA1-D6AFB4EE0D88}" type="presParOf" srcId="{B00B7C9D-05CC-A041-91EE-98E46BEA50E2}" destId="{250B1162-CE92-F94B-AC3E-A8B9CEDAFD6E}" srcOrd="1" destOrd="0" presId="urn:microsoft.com/office/officeart/2005/8/layout/hierarchy1"/>
    <dgm:cxn modelId="{6FE865F3-E5D4-4941-80EF-F55F524E9465}" type="presParOf" srcId="{C796FA4C-8AC7-2A40-B76C-0B05F7B37028}" destId="{787BAEBB-C6A5-4846-B73F-5052A7752B7A}" srcOrd="2" destOrd="0" presId="urn:microsoft.com/office/officeart/2005/8/layout/hierarchy1"/>
    <dgm:cxn modelId="{077C3BE0-91D9-9D48-84EA-1ACE9720105E}" type="presParOf" srcId="{C796FA4C-8AC7-2A40-B76C-0B05F7B37028}" destId="{F33FD33C-98D7-3542-A4BF-0A4DD79261AD}" srcOrd="3" destOrd="0" presId="urn:microsoft.com/office/officeart/2005/8/layout/hierarchy1"/>
    <dgm:cxn modelId="{BDA9566E-B6CB-5945-8F55-F4E0B7626D38}" type="presParOf" srcId="{F33FD33C-98D7-3542-A4BF-0A4DD79261AD}" destId="{385D75BC-ED43-0641-86E1-17B5BAD20B2F}" srcOrd="0" destOrd="0" presId="urn:microsoft.com/office/officeart/2005/8/layout/hierarchy1"/>
    <dgm:cxn modelId="{4B055720-B6C8-894D-ABE6-2455F2CED466}" type="presParOf" srcId="{385D75BC-ED43-0641-86E1-17B5BAD20B2F}" destId="{566569CA-60A1-4C4F-AFF2-CDDC04B70585}" srcOrd="0" destOrd="0" presId="urn:microsoft.com/office/officeart/2005/8/layout/hierarchy1"/>
    <dgm:cxn modelId="{B98536AF-1D4E-4D43-B45F-825051460D46}" type="presParOf" srcId="{385D75BC-ED43-0641-86E1-17B5BAD20B2F}" destId="{FB2451F5-A243-E544-B2E0-CD798B574787}" srcOrd="1" destOrd="0" presId="urn:microsoft.com/office/officeart/2005/8/layout/hierarchy1"/>
    <dgm:cxn modelId="{ECB57181-4DB2-A842-BCD4-3C7DDCA90A96}" type="presParOf" srcId="{F33FD33C-98D7-3542-A4BF-0A4DD79261AD}" destId="{75D3574E-5C89-4646-882E-07AB6BEC17D5}" srcOrd="1" destOrd="0" presId="urn:microsoft.com/office/officeart/2005/8/layout/hierarchy1"/>
    <dgm:cxn modelId="{C3BC471F-DD1E-244B-84AC-E3B46F529D2B}" type="presParOf" srcId="{75D3574E-5C89-4646-882E-07AB6BEC17D5}" destId="{C0E88B73-3140-9B45-ADBE-E381220B76C4}" srcOrd="0" destOrd="0" presId="urn:microsoft.com/office/officeart/2005/8/layout/hierarchy1"/>
    <dgm:cxn modelId="{A191DA64-6910-B840-A3AD-EE75903D5D09}" type="presParOf" srcId="{75D3574E-5C89-4646-882E-07AB6BEC17D5}" destId="{65AFCF96-BEAB-2146-9616-04B6CCF46EE4}" srcOrd="1" destOrd="0" presId="urn:microsoft.com/office/officeart/2005/8/layout/hierarchy1"/>
    <dgm:cxn modelId="{DC2E8BD7-9FE9-FE44-AA1F-E00D914E7AE5}" type="presParOf" srcId="{65AFCF96-BEAB-2146-9616-04B6CCF46EE4}" destId="{428A51A6-FBD7-5447-9F90-16D5C4AEDCD5}" srcOrd="0" destOrd="0" presId="urn:microsoft.com/office/officeart/2005/8/layout/hierarchy1"/>
    <dgm:cxn modelId="{BAEE03DD-BF79-024E-A23C-F9FE78E4AF78}" type="presParOf" srcId="{428A51A6-FBD7-5447-9F90-16D5C4AEDCD5}" destId="{D1D63DA7-35DA-2140-8AB4-BBBFE1A99F8C}" srcOrd="0" destOrd="0" presId="urn:microsoft.com/office/officeart/2005/8/layout/hierarchy1"/>
    <dgm:cxn modelId="{296ADCFB-A9D0-D449-8364-7B08BB1B4275}" type="presParOf" srcId="{428A51A6-FBD7-5447-9F90-16D5C4AEDCD5}" destId="{ADD942DA-F9AE-A54E-8F58-9123C760AA04}" srcOrd="1" destOrd="0" presId="urn:microsoft.com/office/officeart/2005/8/layout/hierarchy1"/>
    <dgm:cxn modelId="{A7EDD30B-F1BA-BD42-B540-744FBF2A513F}" type="presParOf" srcId="{65AFCF96-BEAB-2146-9616-04B6CCF46EE4}" destId="{3BA4C0C6-707A-CE44-B709-9A78331EA730}" srcOrd="1" destOrd="0" presId="urn:microsoft.com/office/officeart/2005/8/layout/hierarchy1"/>
    <dgm:cxn modelId="{2DCFE8B7-5926-4241-84F0-A89CF24C16A4}" type="presParOf" srcId="{75D3574E-5C89-4646-882E-07AB6BEC17D5}" destId="{4BDD72AF-9300-FE41-87F4-27880B7B7760}" srcOrd="2" destOrd="0" presId="urn:microsoft.com/office/officeart/2005/8/layout/hierarchy1"/>
    <dgm:cxn modelId="{98CC758C-10B0-C94F-BEEA-4F5C85AA2E46}" type="presParOf" srcId="{75D3574E-5C89-4646-882E-07AB6BEC17D5}" destId="{72F4D759-43D3-C442-A09F-B4C61A31E41E}" srcOrd="3" destOrd="0" presId="urn:microsoft.com/office/officeart/2005/8/layout/hierarchy1"/>
    <dgm:cxn modelId="{361B9DE2-965E-4A47-AE58-37489D2F7662}" type="presParOf" srcId="{72F4D759-43D3-C442-A09F-B4C61A31E41E}" destId="{C2F8B43B-B426-904A-801B-33FB61348AE2}" srcOrd="0" destOrd="0" presId="urn:microsoft.com/office/officeart/2005/8/layout/hierarchy1"/>
    <dgm:cxn modelId="{A3091EF1-E746-244F-BEE8-B550B228F8FF}" type="presParOf" srcId="{C2F8B43B-B426-904A-801B-33FB61348AE2}" destId="{B406D17C-37E4-654E-844A-37B1D1EE2181}" srcOrd="0" destOrd="0" presId="urn:microsoft.com/office/officeart/2005/8/layout/hierarchy1"/>
    <dgm:cxn modelId="{1294DA20-15A9-2346-A03E-A2E1913F826D}" type="presParOf" srcId="{C2F8B43B-B426-904A-801B-33FB61348AE2}" destId="{1CC27B90-AC9A-2A4F-BC62-34743178EAEA}" srcOrd="1" destOrd="0" presId="urn:microsoft.com/office/officeart/2005/8/layout/hierarchy1"/>
    <dgm:cxn modelId="{0CEC5F46-440E-364F-A782-329654B08DD9}" type="presParOf" srcId="{72F4D759-43D3-C442-A09F-B4C61A31E41E}" destId="{9B1C7C5B-B527-5842-8392-11C0F3954104}" srcOrd="1" destOrd="0" presId="urn:microsoft.com/office/officeart/2005/8/layout/hierarchy1"/>
    <dgm:cxn modelId="{A367C39C-05C7-5846-AFC2-624655F58B03}" type="presParOf" srcId="{D2D5D9E3-027D-F14B-B70D-86B03D852600}" destId="{3C56EFE0-A99A-1A4E-8820-C664E6B497CB}" srcOrd="2" destOrd="0" presId="urn:microsoft.com/office/officeart/2005/8/layout/hierarchy1"/>
    <dgm:cxn modelId="{87077250-BD6A-B642-8C76-8F31165AD878}" type="presParOf" srcId="{D2D5D9E3-027D-F14B-B70D-86B03D852600}" destId="{6E66499E-611A-7447-9B15-820BC0E81A08}" srcOrd="3" destOrd="0" presId="urn:microsoft.com/office/officeart/2005/8/layout/hierarchy1"/>
    <dgm:cxn modelId="{00B6FA9E-BF2D-0E43-9E93-8E4384BBE9AC}" type="presParOf" srcId="{6E66499E-611A-7447-9B15-820BC0E81A08}" destId="{6750678C-050F-1C4F-A92D-84DE20681905}" srcOrd="0" destOrd="0" presId="urn:microsoft.com/office/officeart/2005/8/layout/hierarchy1"/>
    <dgm:cxn modelId="{00637E88-B2A1-4F4D-96F4-89AAF83C90EF}" type="presParOf" srcId="{6750678C-050F-1C4F-A92D-84DE20681905}" destId="{8AF0E105-A16A-614F-9F50-33C446FC97DD}" srcOrd="0" destOrd="0" presId="urn:microsoft.com/office/officeart/2005/8/layout/hierarchy1"/>
    <dgm:cxn modelId="{DCE7FB47-7BA2-2646-889F-AC22DA3B9F0B}" type="presParOf" srcId="{6750678C-050F-1C4F-A92D-84DE20681905}" destId="{21234BA2-BC97-994E-8051-7A5DB50E6C0B}" srcOrd="1" destOrd="0" presId="urn:microsoft.com/office/officeart/2005/8/layout/hierarchy1"/>
    <dgm:cxn modelId="{812C216B-03B4-1A4A-AF24-4079BCB6DFB8}" type="presParOf" srcId="{6E66499E-611A-7447-9B15-820BC0E81A08}" destId="{3A956C71-E8B4-8B4A-93F0-EA2F0DE7CCA0}" srcOrd="1" destOrd="0" presId="urn:microsoft.com/office/officeart/2005/8/layout/hierarchy1"/>
    <dgm:cxn modelId="{05242BC5-96C7-E442-8E9F-CA6C220A0B3D}" type="presParOf" srcId="{3A956C71-E8B4-8B4A-93F0-EA2F0DE7CCA0}" destId="{7896787E-B596-3D47-AF70-7BF1181711DA}" srcOrd="0" destOrd="0" presId="urn:microsoft.com/office/officeart/2005/8/layout/hierarchy1"/>
    <dgm:cxn modelId="{9B3F933D-B885-0543-A37D-4C059CC8FDDF}" type="presParOf" srcId="{3A956C71-E8B4-8B4A-93F0-EA2F0DE7CCA0}" destId="{6E61B842-0A2C-EE4F-B07C-A4ECEB8F964B}" srcOrd="1" destOrd="0" presId="urn:microsoft.com/office/officeart/2005/8/layout/hierarchy1"/>
    <dgm:cxn modelId="{8A596E8D-BF12-764C-A205-9DE8F23AAB01}" type="presParOf" srcId="{6E61B842-0A2C-EE4F-B07C-A4ECEB8F964B}" destId="{FD5E0805-28B0-F14E-8FC8-ECA7EAEC278F}" srcOrd="0" destOrd="0" presId="urn:microsoft.com/office/officeart/2005/8/layout/hierarchy1"/>
    <dgm:cxn modelId="{21CC2139-C9BB-5D4F-9BC8-6CEA884ADE51}" type="presParOf" srcId="{FD5E0805-28B0-F14E-8FC8-ECA7EAEC278F}" destId="{F00C627A-CA09-774E-B3EA-B343D1757425}" srcOrd="0" destOrd="0" presId="urn:microsoft.com/office/officeart/2005/8/layout/hierarchy1"/>
    <dgm:cxn modelId="{49F1E531-2F63-5047-B11B-3F78D971CA2C}" type="presParOf" srcId="{FD5E0805-28B0-F14E-8FC8-ECA7EAEC278F}" destId="{87D53768-DAC1-DD48-9C31-590E8B87F5E8}" srcOrd="1" destOrd="0" presId="urn:microsoft.com/office/officeart/2005/8/layout/hierarchy1"/>
    <dgm:cxn modelId="{1623823F-F22D-F840-B5A8-6AEA4155742C}" type="presParOf" srcId="{6E61B842-0A2C-EE4F-B07C-A4ECEB8F964B}" destId="{E1BCCF2F-6156-1041-9ACF-B00FBB6814F0}" srcOrd="1" destOrd="0" presId="urn:microsoft.com/office/officeart/2005/8/layout/hierarchy1"/>
    <dgm:cxn modelId="{5487EBFB-E28E-864A-A6B8-BF1FBA8B6224}" type="presParOf" srcId="{3A956C71-E8B4-8B4A-93F0-EA2F0DE7CCA0}" destId="{2BA02BDE-F9F8-534B-AFBE-F69D41738C15}" srcOrd="2" destOrd="0" presId="urn:microsoft.com/office/officeart/2005/8/layout/hierarchy1"/>
    <dgm:cxn modelId="{DE3C7C41-BAB7-E848-BF50-CF2D5AD479A9}" type="presParOf" srcId="{3A956C71-E8B4-8B4A-93F0-EA2F0DE7CCA0}" destId="{3CEC845E-8AA7-044C-A770-6D14EC9BBB9A}" srcOrd="3" destOrd="0" presId="urn:microsoft.com/office/officeart/2005/8/layout/hierarchy1"/>
    <dgm:cxn modelId="{50D014B6-EB4E-5044-8473-823882933270}" type="presParOf" srcId="{3CEC845E-8AA7-044C-A770-6D14EC9BBB9A}" destId="{9A4A965F-8CC5-A04E-AD23-3B8C3C217C85}" srcOrd="0" destOrd="0" presId="urn:microsoft.com/office/officeart/2005/8/layout/hierarchy1"/>
    <dgm:cxn modelId="{2E43F334-FA47-214F-9300-F9507946C6AA}" type="presParOf" srcId="{9A4A965F-8CC5-A04E-AD23-3B8C3C217C85}" destId="{EA772503-3539-5E48-A49C-0DC39BAFCA0C}" srcOrd="0" destOrd="0" presId="urn:microsoft.com/office/officeart/2005/8/layout/hierarchy1"/>
    <dgm:cxn modelId="{EAD42CB5-9122-6F49-9B9F-41D3D8553D6B}" type="presParOf" srcId="{9A4A965F-8CC5-A04E-AD23-3B8C3C217C85}" destId="{E08874E8-AAE7-6743-B9EF-1E82EF8809A9}" srcOrd="1" destOrd="0" presId="urn:microsoft.com/office/officeart/2005/8/layout/hierarchy1"/>
    <dgm:cxn modelId="{328086D0-29C3-0142-9D4B-A445116A45D5}" type="presParOf" srcId="{3CEC845E-8AA7-044C-A770-6D14EC9BBB9A}" destId="{755B5F42-C6C9-0143-B732-2B364080C6B6}" srcOrd="1" destOrd="0" presId="urn:microsoft.com/office/officeart/2005/8/layout/hierarchy1"/>
  </dgm:cxnLst>
  <dgm:bg>
    <a:noFill/>
  </dgm:bg>
  <dgm:whole>
    <a:ln w="57150" cmpd="sn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FD2DC9C9-CCF8-6D47-A8AF-7E8440F609A2}" type="doc">
      <dgm:prSet loTypeId="urn:microsoft.com/office/officeart/2005/8/layout/hierarchy1" loCatId="" qsTypeId="urn:microsoft.com/office/officeart/2005/8/quickstyle/3D4" qsCatId="3D" csTypeId="urn:microsoft.com/office/officeart/2005/8/colors/accent1_2" csCatId="accent1" phldr="1"/>
      <dgm:spPr/>
      <dgm:t>
        <a:bodyPr/>
        <a:lstStyle/>
        <a:p>
          <a:endParaRPr lang="en-US"/>
        </a:p>
      </dgm:t>
    </dgm:pt>
    <dgm:pt modelId="{D442C324-979C-3840-AA5A-AA0636E387F7}">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Profit</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F405F5A3-0A03-1043-8B4C-C8712E0CE354}" type="parTrans" cxnId="{6BF25AB5-2F0F-C84E-8FFB-9A57FFBF7B3C}">
      <dgm:prSet/>
      <dgm:spPr/>
      <dgm:t>
        <a:bodyPr/>
        <a:lstStyle/>
        <a:p>
          <a:endParaRPr lang="en-US"/>
        </a:p>
      </dgm:t>
    </dgm:pt>
    <dgm:pt modelId="{8A89DF82-C8BA-8D45-A9B9-A6D6DB1BD6B6}" type="sibTrans" cxnId="{6BF25AB5-2F0F-C84E-8FFB-9A57FFBF7B3C}">
      <dgm:prSet/>
      <dgm:spPr/>
      <dgm:t>
        <a:bodyPr/>
        <a:lstStyle/>
        <a:p>
          <a:endParaRPr lang="en-US"/>
        </a:p>
      </dgm:t>
    </dgm:pt>
    <dgm:pt modelId="{A03EB91D-21F2-3443-9986-C00ADD74CE87}">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Revenue</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5EFDD1BC-A2C6-2446-8BA8-93BEF38BD358}" type="parTrans" cxnId="{96E7BBDB-A8E6-AE4B-8BB9-6C584F75DFC5}">
      <dgm:prSet/>
      <dgm:spPr/>
      <dgm:t>
        <a:bodyPr/>
        <a:lstStyle/>
        <a:p>
          <a:endParaRPr lang="en-US"/>
        </a:p>
      </dgm:t>
    </dgm:pt>
    <dgm:pt modelId="{F1914F61-5C99-3444-9C88-C5605ED05A76}" type="sibTrans" cxnId="{96E7BBDB-A8E6-AE4B-8BB9-6C584F75DFC5}">
      <dgm:prSet/>
      <dgm:spPr/>
      <dgm:t>
        <a:bodyPr/>
        <a:lstStyle/>
        <a:p>
          <a:endParaRPr lang="en-US"/>
        </a:p>
      </dgm:t>
    </dgm:pt>
    <dgm:pt modelId="{A3841B15-433F-8844-B60C-6215250ECFB1}">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Profit Margin</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12D84148-2F79-B644-8F9E-8C923D4C7FA7}" type="parTrans" cxnId="{8ED6CB28-2CBE-C848-A694-57A73C2A2AD3}">
      <dgm:prSet/>
      <dgm:spPr/>
      <dgm:t>
        <a:bodyPr/>
        <a:lstStyle/>
        <a:p>
          <a:endParaRPr lang="en-US"/>
        </a:p>
      </dgm:t>
    </dgm:pt>
    <dgm:pt modelId="{99E5E436-0A87-4E42-BA8A-286350606FB6}" type="sibTrans" cxnId="{8ED6CB28-2CBE-C848-A694-57A73C2A2AD3}">
      <dgm:prSet/>
      <dgm:spPr/>
      <dgm:t>
        <a:bodyPr/>
        <a:lstStyle/>
        <a:p>
          <a:endParaRPr lang="en-US"/>
        </a:p>
      </dgm:t>
    </dgm:pt>
    <dgm:pt modelId="{86845B6C-E3EB-4249-94FA-5E9BC1650BBD}">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Web</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1A21E546-767D-8943-ABEB-3A3C5AEBE220}" type="parTrans" cxnId="{5BE5B654-A48A-4541-8F7D-C732F9AED70C}">
      <dgm:prSet/>
      <dgm:spPr/>
      <dgm:t>
        <a:bodyPr/>
        <a:lstStyle/>
        <a:p>
          <a:endParaRPr lang="en-US"/>
        </a:p>
      </dgm:t>
    </dgm:pt>
    <dgm:pt modelId="{E12C614B-3394-B443-8190-22618C2EA633}" type="sibTrans" cxnId="{5BE5B654-A48A-4541-8F7D-C732F9AED70C}">
      <dgm:prSet/>
      <dgm:spPr/>
      <dgm:t>
        <a:bodyPr/>
        <a:lstStyle/>
        <a:p>
          <a:endParaRPr lang="en-US"/>
        </a:p>
      </dgm:t>
    </dgm:pt>
    <dgm:pt modelId="{E3ACB3B7-2326-8143-B09C-C7B590E92A6F}">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Revenue Per Customer</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7A46211E-4C6C-E647-9420-C7F305EB619B}" type="parTrans" cxnId="{DA2B62EB-E051-AE4E-AA8B-509BD2597625}">
      <dgm:prSet/>
      <dgm:spPr/>
      <dgm:t>
        <a:bodyPr/>
        <a:lstStyle/>
        <a:p>
          <a:endParaRPr lang="en-US"/>
        </a:p>
      </dgm:t>
    </dgm:pt>
    <dgm:pt modelId="{0BAD2BE8-71C5-0C47-91EE-FD303EC97BA9}" type="sibTrans" cxnId="{DA2B62EB-E051-AE4E-AA8B-509BD2597625}">
      <dgm:prSet/>
      <dgm:spPr/>
      <dgm:t>
        <a:bodyPr/>
        <a:lstStyle/>
        <a:p>
          <a:endParaRPr lang="en-US"/>
        </a:p>
      </dgm:t>
    </dgm:pt>
    <dgm:pt modelId="{92C1A3C9-5785-C841-B349-8404B605360C}">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Customers</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3BB8D765-D3B0-6D4B-AE9A-9252A1A5614F}" type="parTrans" cxnId="{CA7DE267-0DA3-8140-AE9C-A449272B70BD}">
      <dgm:prSet/>
      <dgm:spPr/>
      <dgm:t>
        <a:bodyPr/>
        <a:lstStyle/>
        <a:p>
          <a:endParaRPr lang="en-US"/>
        </a:p>
      </dgm:t>
    </dgm:pt>
    <dgm:pt modelId="{ED1BF199-7284-0B45-9AA4-BE74BC436F1E}" type="sibTrans" cxnId="{CA7DE267-0DA3-8140-AE9C-A449272B70BD}">
      <dgm:prSet/>
      <dgm:spPr/>
      <dgm:t>
        <a:bodyPr/>
        <a:lstStyle/>
        <a:p>
          <a:endParaRPr lang="en-US"/>
        </a:p>
      </dgm:t>
    </dgm:pt>
    <dgm:pt modelId="{5E4428FE-F7DF-A648-97F2-0E7D67381C81}">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Online Revenue Attribution</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6D2A78B4-BC03-BD46-9698-28BD3AA9885A}" type="parTrans" cxnId="{92792B65-6656-C742-9D74-98C53FF80B66}">
      <dgm:prSet/>
      <dgm:spPr/>
      <dgm:t>
        <a:bodyPr/>
        <a:lstStyle/>
        <a:p>
          <a:endParaRPr lang="en-US"/>
        </a:p>
      </dgm:t>
    </dgm:pt>
    <dgm:pt modelId="{06854604-405F-BF4F-BBFC-BE82F5406181}" type="sibTrans" cxnId="{92792B65-6656-C742-9D74-98C53FF80B66}">
      <dgm:prSet/>
      <dgm:spPr/>
      <dgm:t>
        <a:bodyPr/>
        <a:lstStyle/>
        <a:p>
          <a:endParaRPr lang="en-US"/>
        </a:p>
      </dgm:t>
    </dgm:pt>
    <dgm:pt modelId="{2AD451F8-1E50-EE40-AC6F-A54A5B598466}">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Average Order Value</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ED9C87D1-E43E-7C4A-8855-0F5A2300A785}" type="parTrans" cxnId="{2F48423D-C31E-E84A-8734-1760F281BE10}">
      <dgm:prSet/>
      <dgm:spPr/>
      <dgm:t>
        <a:bodyPr/>
        <a:lstStyle/>
        <a:p>
          <a:endParaRPr lang="en-US"/>
        </a:p>
      </dgm:t>
    </dgm:pt>
    <dgm:pt modelId="{6153A876-1460-7B48-8CEC-2EE270F492DC}" type="sibTrans" cxnId="{2F48423D-C31E-E84A-8734-1760F281BE10}">
      <dgm:prSet/>
      <dgm:spPr/>
      <dgm:t>
        <a:bodyPr/>
        <a:lstStyle/>
        <a:p>
          <a:endParaRPr lang="en-US"/>
        </a:p>
      </dgm:t>
    </dgm:pt>
    <dgm:pt modelId="{256F0526-7650-8B42-8F5A-BF2862CBB805}">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Conversion Rate</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7524EE42-6049-CA4A-9308-CF5105DFB901}" type="parTrans" cxnId="{3CC6DCA4-8983-9843-809B-2DC3CE7D2FF6}">
      <dgm:prSet/>
      <dgm:spPr/>
      <dgm:t>
        <a:bodyPr/>
        <a:lstStyle/>
        <a:p>
          <a:endParaRPr lang="en-US"/>
        </a:p>
      </dgm:t>
    </dgm:pt>
    <dgm:pt modelId="{72BBA860-A254-0E48-B886-B5E48627C433}" type="sibTrans" cxnId="{3CC6DCA4-8983-9843-809B-2DC3CE7D2FF6}">
      <dgm:prSet/>
      <dgm:spPr/>
      <dgm:t>
        <a:bodyPr/>
        <a:lstStyle/>
        <a:p>
          <a:endParaRPr lang="en-US"/>
        </a:p>
      </dgm:t>
    </dgm:pt>
    <dgm:pt modelId="{423BD63D-0734-8448-B986-6CB8BADC8C94}">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Advertising</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E77870FD-6307-1D4A-854C-C8AD028015AB}" type="parTrans" cxnId="{96926127-75B8-4346-9C2F-A8140B814070}">
      <dgm:prSet/>
      <dgm:spPr/>
      <dgm:t>
        <a:bodyPr/>
        <a:lstStyle/>
        <a:p>
          <a:endParaRPr lang="en-US"/>
        </a:p>
      </dgm:t>
    </dgm:pt>
    <dgm:pt modelId="{1206CC2B-D25B-6146-8BB3-D09E1B9CD087}" type="sibTrans" cxnId="{96926127-75B8-4346-9C2F-A8140B814070}">
      <dgm:prSet/>
      <dgm:spPr/>
      <dgm:t>
        <a:bodyPr/>
        <a:lstStyle/>
        <a:p>
          <a:endParaRPr lang="en-US"/>
        </a:p>
      </dgm:t>
    </dgm:pt>
    <dgm:pt modelId="{4D329CB5-16BC-E346-B331-44F6D575BC56}">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Offline Revenue Attribution</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BFF7DB44-871C-A549-B374-6F6EAB09EBC0}" type="parTrans" cxnId="{AB643072-B5C0-ED41-BC0B-278D17580816}">
      <dgm:prSet/>
      <dgm:spPr/>
      <dgm:t>
        <a:bodyPr/>
        <a:lstStyle/>
        <a:p>
          <a:endParaRPr lang="en-US"/>
        </a:p>
      </dgm:t>
    </dgm:pt>
    <dgm:pt modelId="{5CF7A84E-D677-554E-8EE2-431AD1744C1C}" type="sibTrans" cxnId="{AB643072-B5C0-ED41-BC0B-278D17580816}">
      <dgm:prSet/>
      <dgm:spPr/>
      <dgm:t>
        <a:bodyPr/>
        <a:lstStyle/>
        <a:p>
          <a:endParaRPr lang="en-US"/>
        </a:p>
      </dgm:t>
    </dgm:pt>
    <dgm:pt modelId="{D17746AC-C55C-3542-90FF-03AA49AE8E6C}">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Foot Traffic</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97A446BB-FF3C-BE46-8C82-34274356F64D}" type="parTrans" cxnId="{176ED9BA-1774-FB43-A759-208A8714B353}">
      <dgm:prSet/>
      <dgm:spPr/>
      <dgm:t>
        <a:bodyPr/>
        <a:lstStyle/>
        <a:p>
          <a:endParaRPr lang="en-US"/>
        </a:p>
      </dgm:t>
    </dgm:pt>
    <dgm:pt modelId="{FDBBD0B1-5495-6E4E-ADF5-104517E189F1}" type="sibTrans" cxnId="{176ED9BA-1774-FB43-A759-208A8714B353}">
      <dgm:prSet/>
      <dgm:spPr/>
      <dgm:t>
        <a:bodyPr/>
        <a:lstStyle/>
        <a:p>
          <a:endParaRPr lang="en-US"/>
        </a:p>
      </dgm:t>
    </dgm:pt>
    <dgm:pt modelId="{1C597B71-7C60-6C49-961A-93426DDD7946}">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Conversion Rate</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B3E1C127-F445-8542-9BBE-F1056B70A093}" type="parTrans" cxnId="{42B41F14-7015-024F-9088-5D213C9B0BF4}">
      <dgm:prSet/>
      <dgm:spPr/>
      <dgm:t>
        <a:bodyPr/>
        <a:lstStyle/>
        <a:p>
          <a:endParaRPr lang="en-US"/>
        </a:p>
      </dgm:t>
    </dgm:pt>
    <dgm:pt modelId="{3B914599-508E-DD40-97DC-D8A5CDA3B90D}" type="sibTrans" cxnId="{42B41F14-7015-024F-9088-5D213C9B0BF4}">
      <dgm:prSet/>
      <dgm:spPr/>
      <dgm:t>
        <a:bodyPr/>
        <a:lstStyle/>
        <a:p>
          <a:endParaRPr lang="en-US"/>
        </a:p>
      </dgm:t>
    </dgm:pt>
    <dgm:pt modelId="{9AEC087F-52B9-F74F-860E-120051E9476D}">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Basket Size</a:t>
          </a:r>
          <a:endParaRPr lang="en-US" dirty="0"/>
        </a:p>
      </dgm:t>
    </dgm:pt>
    <dgm:pt modelId="{E563FB06-3523-0A48-A8B9-55907FC3689E}" type="parTrans" cxnId="{6A8E89C7-AF9E-7F49-B822-72F06C7831C7}">
      <dgm:prSet/>
      <dgm:spPr/>
      <dgm:t>
        <a:bodyPr/>
        <a:lstStyle/>
        <a:p>
          <a:endParaRPr lang="en-US"/>
        </a:p>
      </dgm:t>
    </dgm:pt>
    <dgm:pt modelId="{B4B55BF0-A742-4742-A81D-F71EAADFD038}" type="sibTrans" cxnId="{6A8E89C7-AF9E-7F49-B822-72F06C7831C7}">
      <dgm:prSet/>
      <dgm:spPr/>
      <dgm:t>
        <a:bodyPr/>
        <a:lstStyle/>
        <a:p>
          <a:endParaRPr lang="en-US"/>
        </a:p>
      </dgm:t>
    </dgm:pt>
    <dgm:pt modelId="{31CB8142-E2B0-554C-ADE0-799AE57427E3}">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Assisted Value</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B22054E1-7E64-FA43-8CF3-B23FC946E1DC}" type="parTrans" cxnId="{AA98CABD-1B7C-0843-92E3-F77D63D5E192}">
      <dgm:prSet/>
      <dgm:spPr/>
      <dgm:t>
        <a:bodyPr/>
        <a:lstStyle/>
        <a:p>
          <a:endParaRPr lang="en-US"/>
        </a:p>
      </dgm:t>
    </dgm:pt>
    <dgm:pt modelId="{6D127D6E-ED87-5846-8990-82036310A6B4}" type="sibTrans" cxnId="{AA98CABD-1B7C-0843-92E3-F77D63D5E192}">
      <dgm:prSet/>
      <dgm:spPr/>
      <dgm:t>
        <a:bodyPr/>
        <a:lstStyle/>
        <a:p>
          <a:endParaRPr lang="en-US"/>
        </a:p>
      </dgm:t>
    </dgm:pt>
    <dgm:pt modelId="{E717B514-B08B-684F-B6AE-36D8C6222889}">
      <dgm:prSet phldrT="[Text]"/>
      <dgm:spPr>
        <a:solidFill>
          <a:schemeClr val="accent5">
            <a:lumMod val="40000"/>
            <a:lumOff val="60000"/>
          </a:schemeClr>
        </a:solidFill>
      </dgm:spPr>
      <dgm:t>
        <a:bodyPr/>
        <a:lstStyle/>
        <a:p>
          <a:r>
            <a:rPr lang="en-US" b="1" dirty="0" smtClean="0"/>
            <a:t>Assisted Value</a:t>
          </a:r>
          <a:endParaRPr lang="en-US" b="1" dirty="0"/>
        </a:p>
      </dgm:t>
    </dgm:pt>
    <dgm:pt modelId="{7C5F58A0-63E1-4841-BCAC-30156D013EA1}" type="parTrans" cxnId="{C89B9D18-CB6F-7B4B-9440-BBAA1EE49DF0}">
      <dgm:prSet/>
      <dgm:spPr/>
      <dgm:t>
        <a:bodyPr/>
        <a:lstStyle/>
        <a:p>
          <a:endParaRPr lang="en-US"/>
        </a:p>
      </dgm:t>
    </dgm:pt>
    <dgm:pt modelId="{3EF6788C-2323-5046-8C4E-162110B261F8}" type="sibTrans" cxnId="{C89B9D18-CB6F-7B4B-9440-BBAA1EE49DF0}">
      <dgm:prSet/>
      <dgm:spPr/>
      <dgm:t>
        <a:bodyPr/>
        <a:lstStyle/>
        <a:p>
          <a:endParaRPr lang="en-US"/>
        </a:p>
      </dgm:t>
    </dgm:pt>
    <dgm:pt modelId="{782281E5-8996-6B4C-AEE3-29B3A1F3DA0E}">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In-Store</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32170FD4-B1E6-B14B-9A98-019AE3CFE3E9}" type="parTrans" cxnId="{67EAAA73-9218-B042-97CD-4F4E5CAF413A}">
      <dgm:prSet/>
      <dgm:spPr/>
      <dgm:t>
        <a:bodyPr/>
        <a:lstStyle/>
        <a:p>
          <a:endParaRPr lang="en-US"/>
        </a:p>
      </dgm:t>
    </dgm:pt>
    <dgm:pt modelId="{1A1FDDD7-5B0B-8A4F-9EB9-8BD2132B48BC}" type="sibTrans" cxnId="{67EAAA73-9218-B042-97CD-4F4E5CAF413A}">
      <dgm:prSet/>
      <dgm:spPr/>
      <dgm:t>
        <a:bodyPr/>
        <a:lstStyle/>
        <a:p>
          <a:endParaRPr lang="en-US"/>
        </a:p>
      </dgm:t>
    </dgm:pt>
    <dgm:pt modelId="{0791D800-C0B9-5543-B6C7-0000447B2EAF}">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App</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DD4DCB98-5D53-C549-8F15-82393D7494B2}" type="parTrans" cxnId="{3C902C23-32E1-2A41-A65E-CC334FE92FA8}">
      <dgm:prSet/>
      <dgm:spPr/>
      <dgm:t>
        <a:bodyPr/>
        <a:lstStyle/>
        <a:p>
          <a:endParaRPr lang="en-US"/>
        </a:p>
      </dgm:t>
    </dgm:pt>
    <dgm:pt modelId="{1BFCDD96-726A-C240-B2EE-BD9158C0BA47}" type="sibTrans" cxnId="{3C902C23-32E1-2A41-A65E-CC334FE92FA8}">
      <dgm:prSet/>
      <dgm:spPr/>
      <dgm:t>
        <a:bodyPr/>
        <a:lstStyle/>
        <a:p>
          <a:endParaRPr lang="en-US"/>
        </a:p>
      </dgm:t>
    </dgm:pt>
    <dgm:pt modelId="{1EA8DE36-11DB-8C42-802D-DBF3205EB0FC}">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Fixed Costs</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A79BF495-F1C0-D24F-A2B1-ECCCA8C982A5}" type="parTrans" cxnId="{10EA8808-E13B-904C-8EF9-00DC33BFD8C0}">
      <dgm:prSet/>
      <dgm:spPr/>
      <dgm:t>
        <a:bodyPr/>
        <a:lstStyle/>
        <a:p>
          <a:endParaRPr lang="en-US"/>
        </a:p>
      </dgm:t>
    </dgm:pt>
    <dgm:pt modelId="{AF841A1F-3B14-5747-839C-7A3C7DC3AE3A}" type="sibTrans" cxnId="{10EA8808-E13B-904C-8EF9-00DC33BFD8C0}">
      <dgm:prSet/>
      <dgm:spPr/>
      <dgm:t>
        <a:bodyPr/>
        <a:lstStyle/>
        <a:p>
          <a:endParaRPr lang="en-US"/>
        </a:p>
      </dgm:t>
    </dgm:pt>
    <dgm:pt modelId="{32346272-CBDB-5F4A-B4D5-DEFF0F8C4B27}">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Variable Costs</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702B2123-1DFD-9E4C-B0AF-9AA2057299E5}" type="parTrans" cxnId="{AFCD3724-1488-CE48-AC1A-8F54CABB83DC}">
      <dgm:prSet/>
      <dgm:spPr/>
      <dgm:t>
        <a:bodyPr/>
        <a:lstStyle/>
        <a:p>
          <a:endParaRPr lang="en-US"/>
        </a:p>
      </dgm:t>
    </dgm:pt>
    <dgm:pt modelId="{57A11CAF-90B8-9D42-93B4-F81AC054AF39}" type="sibTrans" cxnId="{AFCD3724-1488-CE48-AC1A-8F54CABB83DC}">
      <dgm:prSet/>
      <dgm:spPr/>
      <dgm:t>
        <a:bodyPr/>
        <a:lstStyle/>
        <a:p>
          <a:endParaRPr lang="en-US"/>
        </a:p>
      </dgm:t>
    </dgm:pt>
    <dgm:pt modelId="{C6F1E63D-06C9-F54A-84EF-47C791AE4724}">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Cost of Goods Sold</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E439B9AE-526B-8045-A03A-3E502A9E277A}" type="parTrans" cxnId="{91C48F4F-C532-9C47-8A54-F631926E738B}">
      <dgm:prSet/>
      <dgm:spPr/>
      <dgm:t>
        <a:bodyPr/>
        <a:lstStyle/>
        <a:p>
          <a:endParaRPr lang="en-US"/>
        </a:p>
      </dgm:t>
    </dgm:pt>
    <dgm:pt modelId="{BFB47EB3-B853-704D-85EA-0F809177C57A}" type="sibTrans" cxnId="{91C48F4F-C532-9C47-8A54-F631926E738B}">
      <dgm:prSet/>
      <dgm:spPr/>
      <dgm:t>
        <a:bodyPr/>
        <a:lstStyle/>
        <a:p>
          <a:endParaRPr lang="en-US"/>
        </a:p>
      </dgm:t>
    </dgm:pt>
    <dgm:pt modelId="{D96A6A7B-A591-384B-B6B8-F902C60E4067}">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Product Mix</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D7AB77D6-6F3D-3D4C-A64F-B91C24D0907E}" type="parTrans" cxnId="{E5A272F6-D1E8-AE49-8354-A4D5A180921D}">
      <dgm:prSet/>
      <dgm:spPr/>
      <dgm:t>
        <a:bodyPr/>
        <a:lstStyle/>
        <a:p>
          <a:endParaRPr lang="en-US"/>
        </a:p>
      </dgm:t>
    </dgm:pt>
    <dgm:pt modelId="{DBF8817E-36C0-E741-9924-3A37BEBF3422}" type="sibTrans" cxnId="{E5A272F6-D1E8-AE49-8354-A4D5A180921D}">
      <dgm:prSet/>
      <dgm:spPr/>
      <dgm:t>
        <a:bodyPr/>
        <a:lstStyle/>
        <a:p>
          <a:endParaRPr lang="en-US"/>
        </a:p>
      </dgm:t>
    </dgm:pt>
    <dgm:pt modelId="{D915E04F-E1FA-1F44-878A-165C0C4A5A6F}">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Transactional Costs</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951B68FD-B589-BF45-9A5E-ECCC7A6E7D63}" type="parTrans" cxnId="{193A06E4-86C0-A648-9A6F-7553DC5F90C6}">
      <dgm:prSet/>
      <dgm:spPr/>
      <dgm:t>
        <a:bodyPr/>
        <a:lstStyle/>
        <a:p>
          <a:endParaRPr lang="en-US"/>
        </a:p>
      </dgm:t>
    </dgm:pt>
    <dgm:pt modelId="{00B87D39-AE3F-CD40-B823-9F9E0B54AE1E}" type="sibTrans" cxnId="{193A06E4-86C0-A648-9A6F-7553DC5F90C6}">
      <dgm:prSet/>
      <dgm:spPr/>
      <dgm:t>
        <a:bodyPr/>
        <a:lstStyle/>
        <a:p>
          <a:endParaRPr lang="en-US"/>
        </a:p>
      </dgm:t>
    </dgm:pt>
    <dgm:pt modelId="{51CC7D15-9E14-834F-954B-960D22CAC640}">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Shipping &amp; Handling</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80200090-559E-2D4B-B2A4-AF7B4263E3FE}" type="parTrans" cxnId="{7D56FE70-6129-A94C-BC31-34ADE07B4CCF}">
      <dgm:prSet/>
      <dgm:spPr/>
      <dgm:t>
        <a:bodyPr/>
        <a:lstStyle/>
        <a:p>
          <a:endParaRPr lang="en-US"/>
        </a:p>
      </dgm:t>
    </dgm:pt>
    <dgm:pt modelId="{DC88DFBE-160E-FB42-B4DE-0442EBDBC143}" type="sibTrans" cxnId="{7D56FE70-6129-A94C-BC31-34ADE07B4CCF}">
      <dgm:prSet/>
      <dgm:spPr/>
      <dgm:t>
        <a:bodyPr/>
        <a:lstStyle/>
        <a:p>
          <a:endParaRPr lang="en-US"/>
        </a:p>
      </dgm:t>
    </dgm:pt>
    <dgm:pt modelId="{AF78F04D-240E-6D4F-9BFD-732F4074793E}">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Tax</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C0340516-5A90-624B-BAEC-E4C7C26D6C22}" type="parTrans" cxnId="{96172B90-29FC-F648-9FDE-AA1C85A4C87C}">
      <dgm:prSet/>
      <dgm:spPr/>
      <dgm:t>
        <a:bodyPr/>
        <a:lstStyle/>
        <a:p>
          <a:endParaRPr lang="en-US"/>
        </a:p>
      </dgm:t>
    </dgm:pt>
    <dgm:pt modelId="{0BFBF56B-AA23-DC4B-AFC4-44B640D4D14F}" type="sibTrans" cxnId="{96172B90-29FC-F648-9FDE-AA1C85A4C87C}">
      <dgm:prSet/>
      <dgm:spPr/>
      <dgm:t>
        <a:bodyPr/>
        <a:lstStyle/>
        <a:p>
          <a:endParaRPr lang="en-US"/>
        </a:p>
      </dgm:t>
    </dgm:pt>
    <dgm:pt modelId="{7E876936-0963-FB4A-A944-98396BA48341}">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CAC</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3E308263-0FB8-DE43-92A9-CA02DF1424FD}" type="parTrans" cxnId="{BCBDAE1F-D12C-4E46-883F-5BA0982C0D7D}">
      <dgm:prSet/>
      <dgm:spPr/>
      <dgm:t>
        <a:bodyPr/>
        <a:lstStyle/>
        <a:p>
          <a:endParaRPr lang="en-US"/>
        </a:p>
      </dgm:t>
    </dgm:pt>
    <dgm:pt modelId="{1CBC1968-EC5F-9B4D-9DD6-53C2BD79CD3A}" type="sibTrans" cxnId="{BCBDAE1F-D12C-4E46-883F-5BA0982C0D7D}">
      <dgm:prSet/>
      <dgm:spPr/>
      <dgm:t>
        <a:bodyPr/>
        <a:lstStyle/>
        <a:p>
          <a:endParaRPr lang="en-US"/>
        </a:p>
      </dgm:t>
    </dgm:pt>
    <dgm:pt modelId="{041119CE-361E-6D4A-9899-F5AB6B6B890A}" type="pres">
      <dgm:prSet presAssocID="{FD2DC9C9-CCF8-6D47-A8AF-7E8440F609A2}" presName="hierChild1" presStyleCnt="0">
        <dgm:presLayoutVars>
          <dgm:chPref val="1"/>
          <dgm:dir/>
          <dgm:animOne val="branch"/>
          <dgm:animLvl val="lvl"/>
          <dgm:resizeHandles/>
        </dgm:presLayoutVars>
      </dgm:prSet>
      <dgm:spPr/>
      <dgm:t>
        <a:bodyPr/>
        <a:lstStyle/>
        <a:p>
          <a:endParaRPr lang="en-US"/>
        </a:p>
      </dgm:t>
    </dgm:pt>
    <dgm:pt modelId="{731D8AB7-CF94-8041-8E47-BC61C5240D6A}" type="pres">
      <dgm:prSet presAssocID="{D442C324-979C-3840-AA5A-AA0636E387F7}" presName="hierRoot1" presStyleCnt="0"/>
      <dgm:spPr/>
    </dgm:pt>
    <dgm:pt modelId="{FA8D638D-511A-CB45-84D0-DC8F18D84E5B}" type="pres">
      <dgm:prSet presAssocID="{D442C324-979C-3840-AA5A-AA0636E387F7}" presName="composite" presStyleCnt="0"/>
      <dgm:spPr/>
    </dgm:pt>
    <dgm:pt modelId="{B583EF7D-CB8E-AF47-A04A-538F36D040F1}" type="pres">
      <dgm:prSet presAssocID="{D442C324-979C-3840-AA5A-AA0636E387F7}" presName="background" presStyleLbl="node0" presStyleIdx="0" presStyleCnt="1"/>
      <dgm:spPr/>
    </dgm:pt>
    <dgm:pt modelId="{048F2AA8-3106-1549-A86D-816408887124}" type="pres">
      <dgm:prSet presAssocID="{D442C324-979C-3840-AA5A-AA0636E387F7}" presName="text" presStyleLbl="fgAcc0" presStyleIdx="0" presStyleCnt="1">
        <dgm:presLayoutVars>
          <dgm:chPref val="3"/>
        </dgm:presLayoutVars>
      </dgm:prSet>
      <dgm:spPr/>
      <dgm:t>
        <a:bodyPr/>
        <a:lstStyle/>
        <a:p>
          <a:endParaRPr lang="en-US"/>
        </a:p>
      </dgm:t>
    </dgm:pt>
    <dgm:pt modelId="{1FDB5EB6-2165-EE42-8379-0CAB53CAA213}" type="pres">
      <dgm:prSet presAssocID="{D442C324-979C-3840-AA5A-AA0636E387F7}" presName="hierChild2" presStyleCnt="0"/>
      <dgm:spPr/>
    </dgm:pt>
    <dgm:pt modelId="{1B1E2F4F-56DD-C349-8A5B-11E3EE359C78}" type="pres">
      <dgm:prSet presAssocID="{5EFDD1BC-A2C6-2446-8BA8-93BEF38BD358}" presName="Name10" presStyleLbl="parChTrans1D2" presStyleIdx="0" presStyleCnt="2"/>
      <dgm:spPr/>
      <dgm:t>
        <a:bodyPr/>
        <a:lstStyle/>
        <a:p>
          <a:endParaRPr lang="en-US"/>
        </a:p>
      </dgm:t>
    </dgm:pt>
    <dgm:pt modelId="{6894B1BE-5092-4A4D-A5E9-6D9D72CD9729}" type="pres">
      <dgm:prSet presAssocID="{A03EB91D-21F2-3443-9986-C00ADD74CE87}" presName="hierRoot2" presStyleCnt="0"/>
      <dgm:spPr/>
    </dgm:pt>
    <dgm:pt modelId="{213D6DC0-EE14-4F46-B1C9-0780DFDCEB6B}" type="pres">
      <dgm:prSet presAssocID="{A03EB91D-21F2-3443-9986-C00ADD74CE87}" presName="composite2" presStyleCnt="0"/>
      <dgm:spPr/>
    </dgm:pt>
    <dgm:pt modelId="{2D31CE3E-001E-F044-81B7-A349813E6423}" type="pres">
      <dgm:prSet presAssocID="{A03EB91D-21F2-3443-9986-C00ADD74CE87}" presName="background2" presStyleLbl="node2" presStyleIdx="0" presStyleCnt="2"/>
      <dgm:spPr/>
    </dgm:pt>
    <dgm:pt modelId="{B170A95A-B3C2-A143-BD7C-DB6F30C319BF}" type="pres">
      <dgm:prSet presAssocID="{A03EB91D-21F2-3443-9986-C00ADD74CE87}" presName="text2" presStyleLbl="fgAcc2" presStyleIdx="0" presStyleCnt="2">
        <dgm:presLayoutVars>
          <dgm:chPref val="3"/>
        </dgm:presLayoutVars>
      </dgm:prSet>
      <dgm:spPr/>
      <dgm:t>
        <a:bodyPr/>
        <a:lstStyle/>
        <a:p>
          <a:endParaRPr lang="en-US"/>
        </a:p>
      </dgm:t>
    </dgm:pt>
    <dgm:pt modelId="{97E0108C-19E1-034A-B01D-9710BAA20C14}" type="pres">
      <dgm:prSet presAssocID="{A03EB91D-21F2-3443-9986-C00ADD74CE87}" presName="hierChild3" presStyleCnt="0"/>
      <dgm:spPr/>
    </dgm:pt>
    <dgm:pt modelId="{8757CED1-F6CC-7A43-88EF-D40EB895CD32}" type="pres">
      <dgm:prSet presAssocID="{7A46211E-4C6C-E647-9420-C7F305EB619B}" presName="Name17" presStyleLbl="parChTrans1D3" presStyleIdx="0" presStyleCnt="4"/>
      <dgm:spPr/>
      <dgm:t>
        <a:bodyPr/>
        <a:lstStyle/>
        <a:p>
          <a:endParaRPr lang="en-US"/>
        </a:p>
      </dgm:t>
    </dgm:pt>
    <dgm:pt modelId="{72842BC6-BB19-0F4B-9F1E-28E11C9418A1}" type="pres">
      <dgm:prSet presAssocID="{E3ACB3B7-2326-8143-B09C-C7B590E92A6F}" presName="hierRoot3" presStyleCnt="0"/>
      <dgm:spPr/>
    </dgm:pt>
    <dgm:pt modelId="{DCC9BD62-9E02-C74B-94F7-45D93B265E7C}" type="pres">
      <dgm:prSet presAssocID="{E3ACB3B7-2326-8143-B09C-C7B590E92A6F}" presName="composite3" presStyleCnt="0"/>
      <dgm:spPr/>
    </dgm:pt>
    <dgm:pt modelId="{E7F73C9E-3874-2B41-8A1A-D32778D08E65}" type="pres">
      <dgm:prSet presAssocID="{E3ACB3B7-2326-8143-B09C-C7B590E92A6F}" presName="background3" presStyleLbl="node3" presStyleIdx="0" presStyleCnt="4"/>
      <dgm:spPr/>
    </dgm:pt>
    <dgm:pt modelId="{9F5F831E-B5E7-1540-AC73-26C91ABB260F}" type="pres">
      <dgm:prSet presAssocID="{E3ACB3B7-2326-8143-B09C-C7B590E92A6F}" presName="text3" presStyleLbl="fgAcc3" presStyleIdx="0" presStyleCnt="4">
        <dgm:presLayoutVars>
          <dgm:chPref val="3"/>
        </dgm:presLayoutVars>
      </dgm:prSet>
      <dgm:spPr/>
      <dgm:t>
        <a:bodyPr/>
        <a:lstStyle/>
        <a:p>
          <a:endParaRPr lang="en-US"/>
        </a:p>
      </dgm:t>
    </dgm:pt>
    <dgm:pt modelId="{69AE84D9-F863-6944-8BB0-997DADB4B514}" type="pres">
      <dgm:prSet presAssocID="{E3ACB3B7-2326-8143-B09C-C7B590E92A6F}" presName="hierChild4" presStyleCnt="0"/>
      <dgm:spPr/>
    </dgm:pt>
    <dgm:pt modelId="{10C570C9-8ACD-FD40-85F9-8196E4B7D136}" type="pres">
      <dgm:prSet presAssocID="{6D2A78B4-BC03-BD46-9698-28BD3AA9885A}" presName="Name23" presStyleLbl="parChTrans1D4" presStyleIdx="0" presStyleCnt="19"/>
      <dgm:spPr/>
      <dgm:t>
        <a:bodyPr/>
        <a:lstStyle/>
        <a:p>
          <a:endParaRPr lang="en-US"/>
        </a:p>
      </dgm:t>
    </dgm:pt>
    <dgm:pt modelId="{E9DAC401-397E-2343-A68C-DE0B78940BF2}" type="pres">
      <dgm:prSet presAssocID="{5E4428FE-F7DF-A648-97F2-0E7D67381C81}" presName="hierRoot4" presStyleCnt="0"/>
      <dgm:spPr/>
    </dgm:pt>
    <dgm:pt modelId="{E651F85D-1AFE-9A44-86D7-9DC8232E374A}" type="pres">
      <dgm:prSet presAssocID="{5E4428FE-F7DF-A648-97F2-0E7D67381C81}" presName="composite4" presStyleCnt="0"/>
      <dgm:spPr/>
    </dgm:pt>
    <dgm:pt modelId="{9CB0F569-6859-C148-ACE2-C4CF1EA51EC2}" type="pres">
      <dgm:prSet presAssocID="{5E4428FE-F7DF-A648-97F2-0E7D67381C81}" presName="background4" presStyleLbl="node4" presStyleIdx="0" presStyleCnt="19"/>
      <dgm:spPr/>
    </dgm:pt>
    <dgm:pt modelId="{FD165631-DE07-8A4B-A42E-FC4AF22097E1}" type="pres">
      <dgm:prSet presAssocID="{5E4428FE-F7DF-A648-97F2-0E7D67381C81}" presName="text4" presStyleLbl="fgAcc4" presStyleIdx="0" presStyleCnt="19">
        <dgm:presLayoutVars>
          <dgm:chPref val="3"/>
        </dgm:presLayoutVars>
      </dgm:prSet>
      <dgm:spPr/>
      <dgm:t>
        <a:bodyPr/>
        <a:lstStyle/>
        <a:p>
          <a:endParaRPr lang="en-US"/>
        </a:p>
      </dgm:t>
    </dgm:pt>
    <dgm:pt modelId="{5813FD8F-90AE-2544-8072-46F0795F4BCC}" type="pres">
      <dgm:prSet presAssocID="{5E4428FE-F7DF-A648-97F2-0E7D67381C81}" presName="hierChild5" presStyleCnt="0"/>
      <dgm:spPr/>
    </dgm:pt>
    <dgm:pt modelId="{2CD2BB25-82FE-0343-8126-F2533F318E2A}" type="pres">
      <dgm:prSet presAssocID="{ED9C87D1-E43E-7C4A-8855-0F5A2300A785}" presName="Name23" presStyleLbl="parChTrans1D4" presStyleIdx="1" presStyleCnt="19"/>
      <dgm:spPr/>
      <dgm:t>
        <a:bodyPr/>
        <a:lstStyle/>
        <a:p>
          <a:endParaRPr lang="en-US"/>
        </a:p>
      </dgm:t>
    </dgm:pt>
    <dgm:pt modelId="{21CFF11C-75BA-4445-8EB5-B589D1B4545A}" type="pres">
      <dgm:prSet presAssocID="{2AD451F8-1E50-EE40-AC6F-A54A5B598466}" presName="hierRoot4" presStyleCnt="0"/>
      <dgm:spPr/>
    </dgm:pt>
    <dgm:pt modelId="{3A267C2A-9950-0F4E-8A94-A40F19800071}" type="pres">
      <dgm:prSet presAssocID="{2AD451F8-1E50-EE40-AC6F-A54A5B598466}" presName="composite4" presStyleCnt="0"/>
      <dgm:spPr/>
    </dgm:pt>
    <dgm:pt modelId="{BB622678-A6AE-9F45-AC6F-199CE2EF8B32}" type="pres">
      <dgm:prSet presAssocID="{2AD451F8-1E50-EE40-AC6F-A54A5B598466}" presName="background4" presStyleLbl="node4" presStyleIdx="1" presStyleCnt="19"/>
      <dgm:spPr/>
    </dgm:pt>
    <dgm:pt modelId="{C93E5572-8301-2E45-90B4-2BEF3E8B20E5}" type="pres">
      <dgm:prSet presAssocID="{2AD451F8-1E50-EE40-AC6F-A54A5B598466}" presName="text4" presStyleLbl="fgAcc4" presStyleIdx="1" presStyleCnt="19">
        <dgm:presLayoutVars>
          <dgm:chPref val="3"/>
        </dgm:presLayoutVars>
      </dgm:prSet>
      <dgm:spPr/>
      <dgm:t>
        <a:bodyPr/>
        <a:lstStyle/>
        <a:p>
          <a:endParaRPr lang="en-US"/>
        </a:p>
      </dgm:t>
    </dgm:pt>
    <dgm:pt modelId="{64337146-6479-4542-9BAA-350B4F84CBB8}" type="pres">
      <dgm:prSet presAssocID="{2AD451F8-1E50-EE40-AC6F-A54A5B598466}" presName="hierChild5" presStyleCnt="0"/>
      <dgm:spPr/>
    </dgm:pt>
    <dgm:pt modelId="{EDDED70B-DBE4-8A41-8326-FDC547C20B2B}" type="pres">
      <dgm:prSet presAssocID="{7524EE42-6049-CA4A-9308-CF5105DFB901}" presName="Name23" presStyleLbl="parChTrans1D4" presStyleIdx="2" presStyleCnt="19"/>
      <dgm:spPr/>
      <dgm:t>
        <a:bodyPr/>
        <a:lstStyle/>
        <a:p>
          <a:endParaRPr lang="en-US"/>
        </a:p>
      </dgm:t>
    </dgm:pt>
    <dgm:pt modelId="{45B101C0-925F-D945-97F3-4574DEFDEAA3}" type="pres">
      <dgm:prSet presAssocID="{256F0526-7650-8B42-8F5A-BF2862CBB805}" presName="hierRoot4" presStyleCnt="0"/>
      <dgm:spPr/>
    </dgm:pt>
    <dgm:pt modelId="{3AF1B0D6-5845-744B-A207-6C82ABAEFAA5}" type="pres">
      <dgm:prSet presAssocID="{256F0526-7650-8B42-8F5A-BF2862CBB805}" presName="composite4" presStyleCnt="0"/>
      <dgm:spPr/>
    </dgm:pt>
    <dgm:pt modelId="{30B81E03-BAF1-F64E-A8B2-89717A9A4551}" type="pres">
      <dgm:prSet presAssocID="{256F0526-7650-8B42-8F5A-BF2862CBB805}" presName="background4" presStyleLbl="node4" presStyleIdx="2" presStyleCnt="19"/>
      <dgm:spPr/>
    </dgm:pt>
    <dgm:pt modelId="{50165507-CC5B-7449-86A2-C8E800C3FC5E}" type="pres">
      <dgm:prSet presAssocID="{256F0526-7650-8B42-8F5A-BF2862CBB805}" presName="text4" presStyleLbl="fgAcc4" presStyleIdx="2" presStyleCnt="19">
        <dgm:presLayoutVars>
          <dgm:chPref val="3"/>
        </dgm:presLayoutVars>
      </dgm:prSet>
      <dgm:spPr/>
      <dgm:t>
        <a:bodyPr/>
        <a:lstStyle/>
        <a:p>
          <a:endParaRPr lang="en-US"/>
        </a:p>
      </dgm:t>
    </dgm:pt>
    <dgm:pt modelId="{62C73471-A846-B440-913E-7A37E3909B61}" type="pres">
      <dgm:prSet presAssocID="{256F0526-7650-8B42-8F5A-BF2862CBB805}" presName="hierChild5" presStyleCnt="0"/>
      <dgm:spPr/>
    </dgm:pt>
    <dgm:pt modelId="{0F1CC619-AD04-A34C-AF51-5E656478B12B}" type="pres">
      <dgm:prSet presAssocID="{E77870FD-6307-1D4A-854C-C8AD028015AB}" presName="Name23" presStyleLbl="parChTrans1D4" presStyleIdx="3" presStyleCnt="19"/>
      <dgm:spPr/>
      <dgm:t>
        <a:bodyPr/>
        <a:lstStyle/>
        <a:p>
          <a:endParaRPr lang="en-US"/>
        </a:p>
      </dgm:t>
    </dgm:pt>
    <dgm:pt modelId="{C0B46CB4-4AE0-FB43-95B2-5F069B2209D2}" type="pres">
      <dgm:prSet presAssocID="{423BD63D-0734-8448-B986-6CB8BADC8C94}" presName="hierRoot4" presStyleCnt="0"/>
      <dgm:spPr/>
    </dgm:pt>
    <dgm:pt modelId="{619DA9CF-6BD9-8F44-92FB-214260425A8F}" type="pres">
      <dgm:prSet presAssocID="{423BD63D-0734-8448-B986-6CB8BADC8C94}" presName="composite4" presStyleCnt="0"/>
      <dgm:spPr/>
    </dgm:pt>
    <dgm:pt modelId="{EAF8BA79-38C0-014C-9ADA-B777B410E471}" type="pres">
      <dgm:prSet presAssocID="{423BD63D-0734-8448-B986-6CB8BADC8C94}" presName="background4" presStyleLbl="node4" presStyleIdx="3" presStyleCnt="19"/>
      <dgm:spPr/>
    </dgm:pt>
    <dgm:pt modelId="{89C9FD81-6B92-7D44-84CE-0EEC3A025F36}" type="pres">
      <dgm:prSet presAssocID="{423BD63D-0734-8448-B986-6CB8BADC8C94}" presName="text4" presStyleLbl="fgAcc4" presStyleIdx="3" presStyleCnt="19">
        <dgm:presLayoutVars>
          <dgm:chPref val="3"/>
        </dgm:presLayoutVars>
      </dgm:prSet>
      <dgm:spPr/>
      <dgm:t>
        <a:bodyPr/>
        <a:lstStyle/>
        <a:p>
          <a:endParaRPr lang="en-US"/>
        </a:p>
      </dgm:t>
    </dgm:pt>
    <dgm:pt modelId="{DD8B7E1D-D5C0-FD4B-8FE9-93C793EFD191}" type="pres">
      <dgm:prSet presAssocID="{423BD63D-0734-8448-B986-6CB8BADC8C94}" presName="hierChild5" presStyleCnt="0"/>
      <dgm:spPr/>
    </dgm:pt>
    <dgm:pt modelId="{267CE148-E222-F24A-9DE9-377346E5E093}" type="pres">
      <dgm:prSet presAssocID="{B22054E1-7E64-FA43-8CF3-B23FC946E1DC}" presName="Name23" presStyleLbl="parChTrans1D4" presStyleIdx="4" presStyleCnt="19"/>
      <dgm:spPr/>
      <dgm:t>
        <a:bodyPr/>
        <a:lstStyle/>
        <a:p>
          <a:endParaRPr lang="en-US"/>
        </a:p>
      </dgm:t>
    </dgm:pt>
    <dgm:pt modelId="{63D6314C-CF3F-9C4F-9559-8D8D06568199}" type="pres">
      <dgm:prSet presAssocID="{31CB8142-E2B0-554C-ADE0-799AE57427E3}" presName="hierRoot4" presStyleCnt="0"/>
      <dgm:spPr/>
    </dgm:pt>
    <dgm:pt modelId="{65523EE1-7B80-3B46-B491-CC8C6B280872}" type="pres">
      <dgm:prSet presAssocID="{31CB8142-E2B0-554C-ADE0-799AE57427E3}" presName="composite4" presStyleCnt="0"/>
      <dgm:spPr/>
    </dgm:pt>
    <dgm:pt modelId="{D52CB053-5CA7-4A47-8532-A3EF65EF32E1}" type="pres">
      <dgm:prSet presAssocID="{31CB8142-E2B0-554C-ADE0-799AE57427E3}" presName="background4" presStyleLbl="node4" presStyleIdx="4" presStyleCnt="19"/>
      <dgm:spPr/>
    </dgm:pt>
    <dgm:pt modelId="{03BDC2CF-8A5D-5E4C-9788-4AFCFDD52DD3}" type="pres">
      <dgm:prSet presAssocID="{31CB8142-E2B0-554C-ADE0-799AE57427E3}" presName="text4" presStyleLbl="fgAcc4" presStyleIdx="4" presStyleCnt="19">
        <dgm:presLayoutVars>
          <dgm:chPref val="3"/>
        </dgm:presLayoutVars>
      </dgm:prSet>
      <dgm:spPr/>
      <dgm:t>
        <a:bodyPr/>
        <a:lstStyle/>
        <a:p>
          <a:endParaRPr lang="en-US"/>
        </a:p>
      </dgm:t>
    </dgm:pt>
    <dgm:pt modelId="{1F11D014-6056-FB41-9E7D-ADE3DE362E98}" type="pres">
      <dgm:prSet presAssocID="{31CB8142-E2B0-554C-ADE0-799AE57427E3}" presName="hierChild5" presStyleCnt="0"/>
      <dgm:spPr/>
    </dgm:pt>
    <dgm:pt modelId="{4D22C701-D4EA-6541-9C37-8381FFEAD667}" type="pres">
      <dgm:prSet presAssocID="{BFF7DB44-871C-A549-B374-6F6EAB09EBC0}" presName="Name23" presStyleLbl="parChTrans1D4" presStyleIdx="5" presStyleCnt="19"/>
      <dgm:spPr/>
      <dgm:t>
        <a:bodyPr/>
        <a:lstStyle/>
        <a:p>
          <a:endParaRPr lang="en-US"/>
        </a:p>
      </dgm:t>
    </dgm:pt>
    <dgm:pt modelId="{1B857A19-5937-DA49-9402-F9A90666539D}" type="pres">
      <dgm:prSet presAssocID="{4D329CB5-16BC-E346-B331-44F6D575BC56}" presName="hierRoot4" presStyleCnt="0"/>
      <dgm:spPr/>
    </dgm:pt>
    <dgm:pt modelId="{518F486C-D559-E141-B7B6-75B2C7EE6410}" type="pres">
      <dgm:prSet presAssocID="{4D329CB5-16BC-E346-B331-44F6D575BC56}" presName="composite4" presStyleCnt="0"/>
      <dgm:spPr/>
    </dgm:pt>
    <dgm:pt modelId="{FF21CB88-D888-B849-9C95-2BA5DECC579B}" type="pres">
      <dgm:prSet presAssocID="{4D329CB5-16BC-E346-B331-44F6D575BC56}" presName="background4" presStyleLbl="node4" presStyleIdx="5" presStyleCnt="19"/>
      <dgm:spPr/>
    </dgm:pt>
    <dgm:pt modelId="{2BF37921-DFCF-544B-AEBD-17B356FF1227}" type="pres">
      <dgm:prSet presAssocID="{4D329CB5-16BC-E346-B331-44F6D575BC56}" presName="text4" presStyleLbl="fgAcc4" presStyleIdx="5" presStyleCnt="19">
        <dgm:presLayoutVars>
          <dgm:chPref val="3"/>
        </dgm:presLayoutVars>
      </dgm:prSet>
      <dgm:spPr/>
      <dgm:t>
        <a:bodyPr/>
        <a:lstStyle/>
        <a:p>
          <a:endParaRPr lang="en-US"/>
        </a:p>
      </dgm:t>
    </dgm:pt>
    <dgm:pt modelId="{3F7F4EFD-973E-F747-9F7B-E9030A25A6B4}" type="pres">
      <dgm:prSet presAssocID="{4D329CB5-16BC-E346-B331-44F6D575BC56}" presName="hierChild5" presStyleCnt="0"/>
      <dgm:spPr/>
    </dgm:pt>
    <dgm:pt modelId="{38FF51C3-4FAA-C944-9907-7C794D15F020}" type="pres">
      <dgm:prSet presAssocID="{97A446BB-FF3C-BE46-8C82-34274356F64D}" presName="Name23" presStyleLbl="parChTrans1D4" presStyleIdx="6" presStyleCnt="19"/>
      <dgm:spPr/>
      <dgm:t>
        <a:bodyPr/>
        <a:lstStyle/>
        <a:p>
          <a:endParaRPr lang="en-US"/>
        </a:p>
      </dgm:t>
    </dgm:pt>
    <dgm:pt modelId="{5D757DB3-0D3B-AB4E-809A-863A019C7CA2}" type="pres">
      <dgm:prSet presAssocID="{D17746AC-C55C-3542-90FF-03AA49AE8E6C}" presName="hierRoot4" presStyleCnt="0"/>
      <dgm:spPr/>
    </dgm:pt>
    <dgm:pt modelId="{20E6D7FC-16B4-694B-A278-E0F82FFE64A6}" type="pres">
      <dgm:prSet presAssocID="{D17746AC-C55C-3542-90FF-03AA49AE8E6C}" presName="composite4" presStyleCnt="0"/>
      <dgm:spPr/>
    </dgm:pt>
    <dgm:pt modelId="{25A88385-6150-894D-B312-990E8BB55A65}" type="pres">
      <dgm:prSet presAssocID="{D17746AC-C55C-3542-90FF-03AA49AE8E6C}" presName="background4" presStyleLbl="node4" presStyleIdx="6" presStyleCnt="19"/>
      <dgm:spPr/>
    </dgm:pt>
    <dgm:pt modelId="{A12804F0-2DA6-E34A-A6D0-4548E269FDB0}" type="pres">
      <dgm:prSet presAssocID="{D17746AC-C55C-3542-90FF-03AA49AE8E6C}" presName="text4" presStyleLbl="fgAcc4" presStyleIdx="6" presStyleCnt="19">
        <dgm:presLayoutVars>
          <dgm:chPref val="3"/>
        </dgm:presLayoutVars>
      </dgm:prSet>
      <dgm:spPr/>
      <dgm:t>
        <a:bodyPr/>
        <a:lstStyle/>
        <a:p>
          <a:endParaRPr lang="en-US"/>
        </a:p>
      </dgm:t>
    </dgm:pt>
    <dgm:pt modelId="{5B4271AD-270E-9046-BABA-B973A61C40AA}" type="pres">
      <dgm:prSet presAssocID="{D17746AC-C55C-3542-90FF-03AA49AE8E6C}" presName="hierChild5" presStyleCnt="0"/>
      <dgm:spPr/>
    </dgm:pt>
    <dgm:pt modelId="{89047588-BF48-A74D-A6B6-F0866F82C690}" type="pres">
      <dgm:prSet presAssocID="{B3E1C127-F445-8542-9BBE-F1056B70A093}" presName="Name23" presStyleLbl="parChTrans1D4" presStyleIdx="7" presStyleCnt="19"/>
      <dgm:spPr/>
      <dgm:t>
        <a:bodyPr/>
        <a:lstStyle/>
        <a:p>
          <a:endParaRPr lang="en-US"/>
        </a:p>
      </dgm:t>
    </dgm:pt>
    <dgm:pt modelId="{06D6E925-1FAB-A042-99F8-EC162AFED6F8}" type="pres">
      <dgm:prSet presAssocID="{1C597B71-7C60-6C49-961A-93426DDD7946}" presName="hierRoot4" presStyleCnt="0"/>
      <dgm:spPr/>
    </dgm:pt>
    <dgm:pt modelId="{C470A9AC-C3BD-C246-8FB2-01FD0C891D07}" type="pres">
      <dgm:prSet presAssocID="{1C597B71-7C60-6C49-961A-93426DDD7946}" presName="composite4" presStyleCnt="0"/>
      <dgm:spPr/>
    </dgm:pt>
    <dgm:pt modelId="{C536077C-9A53-DF4B-AD75-4A61FF3C30EC}" type="pres">
      <dgm:prSet presAssocID="{1C597B71-7C60-6C49-961A-93426DDD7946}" presName="background4" presStyleLbl="node4" presStyleIdx="7" presStyleCnt="19"/>
      <dgm:spPr/>
    </dgm:pt>
    <dgm:pt modelId="{8866EF12-8DD5-C74A-99D0-353E183E8C46}" type="pres">
      <dgm:prSet presAssocID="{1C597B71-7C60-6C49-961A-93426DDD7946}" presName="text4" presStyleLbl="fgAcc4" presStyleIdx="7" presStyleCnt="19">
        <dgm:presLayoutVars>
          <dgm:chPref val="3"/>
        </dgm:presLayoutVars>
      </dgm:prSet>
      <dgm:spPr/>
      <dgm:t>
        <a:bodyPr/>
        <a:lstStyle/>
        <a:p>
          <a:endParaRPr lang="en-US"/>
        </a:p>
      </dgm:t>
    </dgm:pt>
    <dgm:pt modelId="{E8BA6B2A-18F8-DD43-B4F3-ADD976F87367}" type="pres">
      <dgm:prSet presAssocID="{1C597B71-7C60-6C49-961A-93426DDD7946}" presName="hierChild5" presStyleCnt="0"/>
      <dgm:spPr/>
    </dgm:pt>
    <dgm:pt modelId="{A188263D-53C1-8A4E-BDCE-77BD616F55DC}" type="pres">
      <dgm:prSet presAssocID="{E563FB06-3523-0A48-A8B9-55907FC3689E}" presName="Name23" presStyleLbl="parChTrans1D4" presStyleIdx="8" presStyleCnt="19"/>
      <dgm:spPr/>
      <dgm:t>
        <a:bodyPr/>
        <a:lstStyle/>
        <a:p>
          <a:endParaRPr lang="en-US"/>
        </a:p>
      </dgm:t>
    </dgm:pt>
    <dgm:pt modelId="{594E756E-DFA3-3E49-B7D2-4663DD843940}" type="pres">
      <dgm:prSet presAssocID="{9AEC087F-52B9-F74F-860E-120051E9476D}" presName="hierRoot4" presStyleCnt="0"/>
      <dgm:spPr/>
    </dgm:pt>
    <dgm:pt modelId="{39554AAB-6398-9A44-974C-D448B67FAB7F}" type="pres">
      <dgm:prSet presAssocID="{9AEC087F-52B9-F74F-860E-120051E9476D}" presName="composite4" presStyleCnt="0"/>
      <dgm:spPr/>
    </dgm:pt>
    <dgm:pt modelId="{12874842-A5AB-0C4F-AD8F-A89111030789}" type="pres">
      <dgm:prSet presAssocID="{9AEC087F-52B9-F74F-860E-120051E9476D}" presName="background4" presStyleLbl="node4" presStyleIdx="8" presStyleCnt="19"/>
      <dgm:spPr/>
    </dgm:pt>
    <dgm:pt modelId="{ECE3DBC5-BF77-F44F-A62D-10A3CBF613EF}" type="pres">
      <dgm:prSet presAssocID="{9AEC087F-52B9-F74F-860E-120051E9476D}" presName="text4" presStyleLbl="fgAcc4" presStyleIdx="8" presStyleCnt="19">
        <dgm:presLayoutVars>
          <dgm:chPref val="3"/>
        </dgm:presLayoutVars>
      </dgm:prSet>
      <dgm:spPr/>
      <dgm:t>
        <a:bodyPr/>
        <a:lstStyle/>
        <a:p>
          <a:endParaRPr lang="en-US"/>
        </a:p>
      </dgm:t>
    </dgm:pt>
    <dgm:pt modelId="{BE4A7249-DDFB-9D4E-BF15-7029205A12A1}" type="pres">
      <dgm:prSet presAssocID="{9AEC087F-52B9-F74F-860E-120051E9476D}" presName="hierChild5" presStyleCnt="0"/>
      <dgm:spPr/>
    </dgm:pt>
    <dgm:pt modelId="{015CA630-71EE-994E-BDF9-B4E5D34D9F42}" type="pres">
      <dgm:prSet presAssocID="{7C5F58A0-63E1-4841-BCAC-30156D013EA1}" presName="Name23" presStyleLbl="parChTrans1D4" presStyleIdx="9" presStyleCnt="19"/>
      <dgm:spPr/>
      <dgm:t>
        <a:bodyPr/>
        <a:lstStyle/>
        <a:p>
          <a:endParaRPr lang="en-US"/>
        </a:p>
      </dgm:t>
    </dgm:pt>
    <dgm:pt modelId="{DC6812B0-9589-AD40-A338-2557CACDFCDC}" type="pres">
      <dgm:prSet presAssocID="{E717B514-B08B-684F-B6AE-36D8C6222889}" presName="hierRoot4" presStyleCnt="0"/>
      <dgm:spPr/>
    </dgm:pt>
    <dgm:pt modelId="{94A7165B-98AF-8543-8EC9-BA1DE647F584}" type="pres">
      <dgm:prSet presAssocID="{E717B514-B08B-684F-B6AE-36D8C6222889}" presName="composite4" presStyleCnt="0"/>
      <dgm:spPr/>
    </dgm:pt>
    <dgm:pt modelId="{68DC7AB9-BB0B-FF49-B3C1-045799B161F3}" type="pres">
      <dgm:prSet presAssocID="{E717B514-B08B-684F-B6AE-36D8C6222889}" presName="background4" presStyleLbl="node4" presStyleIdx="9" presStyleCnt="19"/>
      <dgm:spPr/>
    </dgm:pt>
    <dgm:pt modelId="{CA157E24-A511-0043-8F75-04AB9C1BD51A}" type="pres">
      <dgm:prSet presAssocID="{E717B514-B08B-684F-B6AE-36D8C6222889}" presName="text4" presStyleLbl="fgAcc4" presStyleIdx="9" presStyleCnt="19">
        <dgm:presLayoutVars>
          <dgm:chPref val="3"/>
        </dgm:presLayoutVars>
      </dgm:prSet>
      <dgm:spPr/>
      <dgm:t>
        <a:bodyPr/>
        <a:lstStyle/>
        <a:p>
          <a:endParaRPr lang="en-US"/>
        </a:p>
      </dgm:t>
    </dgm:pt>
    <dgm:pt modelId="{4B10EBC5-E24F-5143-A9EE-FCF1180CD1D3}" type="pres">
      <dgm:prSet presAssocID="{E717B514-B08B-684F-B6AE-36D8C6222889}" presName="hierChild5" presStyleCnt="0"/>
      <dgm:spPr/>
    </dgm:pt>
    <dgm:pt modelId="{B561EAB9-9C90-814A-B65E-A9C9AAD599AD}" type="pres">
      <dgm:prSet presAssocID="{3BB8D765-D3B0-6D4B-AE9A-9252A1A5614F}" presName="Name17" presStyleLbl="parChTrans1D3" presStyleIdx="1" presStyleCnt="4"/>
      <dgm:spPr/>
      <dgm:t>
        <a:bodyPr/>
        <a:lstStyle/>
        <a:p>
          <a:endParaRPr lang="en-US"/>
        </a:p>
      </dgm:t>
    </dgm:pt>
    <dgm:pt modelId="{D9C812F6-973C-B34E-B2DC-2DED537556E6}" type="pres">
      <dgm:prSet presAssocID="{92C1A3C9-5785-C841-B349-8404B605360C}" presName="hierRoot3" presStyleCnt="0"/>
      <dgm:spPr/>
    </dgm:pt>
    <dgm:pt modelId="{DF8E1BFD-42D7-404C-9F6C-C117DBDD0355}" type="pres">
      <dgm:prSet presAssocID="{92C1A3C9-5785-C841-B349-8404B605360C}" presName="composite3" presStyleCnt="0"/>
      <dgm:spPr/>
    </dgm:pt>
    <dgm:pt modelId="{C165AA30-608C-3648-9ECE-35B717E6BFAB}" type="pres">
      <dgm:prSet presAssocID="{92C1A3C9-5785-C841-B349-8404B605360C}" presName="background3" presStyleLbl="node3" presStyleIdx="1" presStyleCnt="4"/>
      <dgm:spPr/>
    </dgm:pt>
    <dgm:pt modelId="{CA4F720E-F48D-3749-9283-86683DE1ED80}" type="pres">
      <dgm:prSet presAssocID="{92C1A3C9-5785-C841-B349-8404B605360C}" presName="text3" presStyleLbl="fgAcc3" presStyleIdx="1" presStyleCnt="4">
        <dgm:presLayoutVars>
          <dgm:chPref val="3"/>
        </dgm:presLayoutVars>
      </dgm:prSet>
      <dgm:spPr/>
      <dgm:t>
        <a:bodyPr/>
        <a:lstStyle/>
        <a:p>
          <a:endParaRPr lang="en-US"/>
        </a:p>
      </dgm:t>
    </dgm:pt>
    <dgm:pt modelId="{3EBADE22-3D93-E94E-A613-1D9DD569435C}" type="pres">
      <dgm:prSet presAssocID="{92C1A3C9-5785-C841-B349-8404B605360C}" presName="hierChild4" presStyleCnt="0"/>
      <dgm:spPr/>
    </dgm:pt>
    <dgm:pt modelId="{C45442A0-B0E4-504D-8187-E1C01B448AC8}" type="pres">
      <dgm:prSet presAssocID="{1A21E546-767D-8943-ABEB-3A3C5AEBE220}" presName="Name23" presStyleLbl="parChTrans1D4" presStyleIdx="10" presStyleCnt="19"/>
      <dgm:spPr/>
      <dgm:t>
        <a:bodyPr/>
        <a:lstStyle/>
        <a:p>
          <a:endParaRPr lang="en-US"/>
        </a:p>
      </dgm:t>
    </dgm:pt>
    <dgm:pt modelId="{63F48039-0BF6-1B45-88B9-5B3678928602}" type="pres">
      <dgm:prSet presAssocID="{86845B6C-E3EB-4249-94FA-5E9BC1650BBD}" presName="hierRoot4" presStyleCnt="0"/>
      <dgm:spPr/>
    </dgm:pt>
    <dgm:pt modelId="{8CAA1458-1E1B-B74F-9555-BDCA7931A030}" type="pres">
      <dgm:prSet presAssocID="{86845B6C-E3EB-4249-94FA-5E9BC1650BBD}" presName="composite4" presStyleCnt="0"/>
      <dgm:spPr/>
    </dgm:pt>
    <dgm:pt modelId="{4A6556C4-34E6-1A4B-A7B0-AD5D7D8D927D}" type="pres">
      <dgm:prSet presAssocID="{86845B6C-E3EB-4249-94FA-5E9BC1650BBD}" presName="background4" presStyleLbl="node4" presStyleIdx="10" presStyleCnt="19"/>
      <dgm:spPr/>
    </dgm:pt>
    <dgm:pt modelId="{545DFBC1-1B7B-3041-A4D6-A93259FC61EA}" type="pres">
      <dgm:prSet presAssocID="{86845B6C-E3EB-4249-94FA-5E9BC1650BBD}" presName="text4" presStyleLbl="fgAcc4" presStyleIdx="10" presStyleCnt="19">
        <dgm:presLayoutVars>
          <dgm:chPref val="3"/>
        </dgm:presLayoutVars>
      </dgm:prSet>
      <dgm:spPr/>
      <dgm:t>
        <a:bodyPr/>
        <a:lstStyle/>
        <a:p>
          <a:endParaRPr lang="en-US"/>
        </a:p>
      </dgm:t>
    </dgm:pt>
    <dgm:pt modelId="{B8102C07-3748-FC4D-B56D-C4157AC8C5D3}" type="pres">
      <dgm:prSet presAssocID="{86845B6C-E3EB-4249-94FA-5E9BC1650BBD}" presName="hierChild5" presStyleCnt="0"/>
      <dgm:spPr/>
    </dgm:pt>
    <dgm:pt modelId="{A5F9AC86-AECD-F54F-A9C2-FEB40BA7723B}" type="pres">
      <dgm:prSet presAssocID="{32170FD4-B1E6-B14B-9A98-019AE3CFE3E9}" presName="Name23" presStyleLbl="parChTrans1D4" presStyleIdx="11" presStyleCnt="19"/>
      <dgm:spPr/>
      <dgm:t>
        <a:bodyPr/>
        <a:lstStyle/>
        <a:p>
          <a:endParaRPr lang="en-US"/>
        </a:p>
      </dgm:t>
    </dgm:pt>
    <dgm:pt modelId="{E259405B-DC78-6C40-842E-B6161A466F33}" type="pres">
      <dgm:prSet presAssocID="{782281E5-8996-6B4C-AEE3-29B3A1F3DA0E}" presName="hierRoot4" presStyleCnt="0"/>
      <dgm:spPr/>
    </dgm:pt>
    <dgm:pt modelId="{C3548222-CD2D-4A42-A8FB-049787523D9B}" type="pres">
      <dgm:prSet presAssocID="{782281E5-8996-6B4C-AEE3-29B3A1F3DA0E}" presName="composite4" presStyleCnt="0"/>
      <dgm:spPr/>
    </dgm:pt>
    <dgm:pt modelId="{D9B19596-50BE-DD4B-BAB6-7874C205E339}" type="pres">
      <dgm:prSet presAssocID="{782281E5-8996-6B4C-AEE3-29B3A1F3DA0E}" presName="background4" presStyleLbl="node4" presStyleIdx="11" presStyleCnt="19"/>
      <dgm:spPr/>
    </dgm:pt>
    <dgm:pt modelId="{278225A1-DE14-A441-972A-42C3E480B430}" type="pres">
      <dgm:prSet presAssocID="{782281E5-8996-6B4C-AEE3-29B3A1F3DA0E}" presName="text4" presStyleLbl="fgAcc4" presStyleIdx="11" presStyleCnt="19">
        <dgm:presLayoutVars>
          <dgm:chPref val="3"/>
        </dgm:presLayoutVars>
      </dgm:prSet>
      <dgm:spPr/>
      <dgm:t>
        <a:bodyPr/>
        <a:lstStyle/>
        <a:p>
          <a:endParaRPr lang="en-US"/>
        </a:p>
      </dgm:t>
    </dgm:pt>
    <dgm:pt modelId="{ACD3F9E0-A08A-7A40-A346-E1A5502CBEC8}" type="pres">
      <dgm:prSet presAssocID="{782281E5-8996-6B4C-AEE3-29B3A1F3DA0E}" presName="hierChild5" presStyleCnt="0"/>
      <dgm:spPr/>
    </dgm:pt>
    <dgm:pt modelId="{80C32E74-2028-5A45-B638-2DE55690566F}" type="pres">
      <dgm:prSet presAssocID="{DD4DCB98-5D53-C549-8F15-82393D7494B2}" presName="Name23" presStyleLbl="parChTrans1D4" presStyleIdx="12" presStyleCnt="19"/>
      <dgm:spPr/>
      <dgm:t>
        <a:bodyPr/>
        <a:lstStyle/>
        <a:p>
          <a:endParaRPr lang="en-US"/>
        </a:p>
      </dgm:t>
    </dgm:pt>
    <dgm:pt modelId="{58B5DA1C-657C-0649-967A-AC5EBC3B6C87}" type="pres">
      <dgm:prSet presAssocID="{0791D800-C0B9-5543-B6C7-0000447B2EAF}" presName="hierRoot4" presStyleCnt="0"/>
      <dgm:spPr/>
    </dgm:pt>
    <dgm:pt modelId="{6BD2A850-378B-9745-8230-7E67C6B1D10F}" type="pres">
      <dgm:prSet presAssocID="{0791D800-C0B9-5543-B6C7-0000447B2EAF}" presName="composite4" presStyleCnt="0"/>
      <dgm:spPr/>
    </dgm:pt>
    <dgm:pt modelId="{EBE94D10-CB91-7247-A338-137ED37AD7BB}" type="pres">
      <dgm:prSet presAssocID="{0791D800-C0B9-5543-B6C7-0000447B2EAF}" presName="background4" presStyleLbl="node4" presStyleIdx="12" presStyleCnt="19"/>
      <dgm:spPr/>
    </dgm:pt>
    <dgm:pt modelId="{E507C385-AB6A-9546-B456-C49DBAA17A09}" type="pres">
      <dgm:prSet presAssocID="{0791D800-C0B9-5543-B6C7-0000447B2EAF}" presName="text4" presStyleLbl="fgAcc4" presStyleIdx="12" presStyleCnt="19">
        <dgm:presLayoutVars>
          <dgm:chPref val="3"/>
        </dgm:presLayoutVars>
      </dgm:prSet>
      <dgm:spPr/>
      <dgm:t>
        <a:bodyPr/>
        <a:lstStyle/>
        <a:p>
          <a:endParaRPr lang="en-US"/>
        </a:p>
      </dgm:t>
    </dgm:pt>
    <dgm:pt modelId="{C730DC23-2ACB-1747-A6C5-FA72AC17B81D}" type="pres">
      <dgm:prSet presAssocID="{0791D800-C0B9-5543-B6C7-0000447B2EAF}" presName="hierChild5" presStyleCnt="0"/>
      <dgm:spPr/>
    </dgm:pt>
    <dgm:pt modelId="{1A996277-C9DB-1A49-9160-C400C5DD19DF}" type="pres">
      <dgm:prSet presAssocID="{12D84148-2F79-B644-8F9E-8C923D4C7FA7}" presName="Name10" presStyleLbl="parChTrans1D2" presStyleIdx="1" presStyleCnt="2"/>
      <dgm:spPr/>
      <dgm:t>
        <a:bodyPr/>
        <a:lstStyle/>
        <a:p>
          <a:endParaRPr lang="en-US"/>
        </a:p>
      </dgm:t>
    </dgm:pt>
    <dgm:pt modelId="{28B0FC61-0FA3-AA44-B7DC-4370AF40B7D2}" type="pres">
      <dgm:prSet presAssocID="{A3841B15-433F-8844-B60C-6215250ECFB1}" presName="hierRoot2" presStyleCnt="0"/>
      <dgm:spPr/>
    </dgm:pt>
    <dgm:pt modelId="{09FEA531-FF7C-1245-895F-7C44EE81E779}" type="pres">
      <dgm:prSet presAssocID="{A3841B15-433F-8844-B60C-6215250ECFB1}" presName="composite2" presStyleCnt="0"/>
      <dgm:spPr/>
    </dgm:pt>
    <dgm:pt modelId="{237B0FDC-A266-9847-8F77-63CAAF503F44}" type="pres">
      <dgm:prSet presAssocID="{A3841B15-433F-8844-B60C-6215250ECFB1}" presName="background2" presStyleLbl="node2" presStyleIdx="1" presStyleCnt="2"/>
      <dgm:spPr/>
    </dgm:pt>
    <dgm:pt modelId="{13068196-C853-604C-8748-B282436CD6ED}" type="pres">
      <dgm:prSet presAssocID="{A3841B15-433F-8844-B60C-6215250ECFB1}" presName="text2" presStyleLbl="fgAcc2" presStyleIdx="1" presStyleCnt="2">
        <dgm:presLayoutVars>
          <dgm:chPref val="3"/>
        </dgm:presLayoutVars>
      </dgm:prSet>
      <dgm:spPr/>
      <dgm:t>
        <a:bodyPr/>
        <a:lstStyle/>
        <a:p>
          <a:endParaRPr lang="en-US"/>
        </a:p>
      </dgm:t>
    </dgm:pt>
    <dgm:pt modelId="{49AAFECE-C8E6-AC47-A4A6-E3BCC42AE4A7}" type="pres">
      <dgm:prSet presAssocID="{A3841B15-433F-8844-B60C-6215250ECFB1}" presName="hierChild3" presStyleCnt="0"/>
      <dgm:spPr/>
    </dgm:pt>
    <dgm:pt modelId="{3A5658C4-FA78-F740-BBDD-C38C285609DF}" type="pres">
      <dgm:prSet presAssocID="{A79BF495-F1C0-D24F-A2B1-ECCCA8C982A5}" presName="Name17" presStyleLbl="parChTrans1D3" presStyleIdx="2" presStyleCnt="4"/>
      <dgm:spPr/>
      <dgm:t>
        <a:bodyPr/>
        <a:lstStyle/>
        <a:p>
          <a:endParaRPr lang="en-US"/>
        </a:p>
      </dgm:t>
    </dgm:pt>
    <dgm:pt modelId="{AA3F1489-5E75-F548-9132-72A662421605}" type="pres">
      <dgm:prSet presAssocID="{1EA8DE36-11DB-8C42-802D-DBF3205EB0FC}" presName="hierRoot3" presStyleCnt="0"/>
      <dgm:spPr/>
    </dgm:pt>
    <dgm:pt modelId="{75F02837-AC3C-3744-A306-041F2FB2F850}" type="pres">
      <dgm:prSet presAssocID="{1EA8DE36-11DB-8C42-802D-DBF3205EB0FC}" presName="composite3" presStyleCnt="0"/>
      <dgm:spPr/>
    </dgm:pt>
    <dgm:pt modelId="{9A1BC53F-FEAB-4F46-9C18-3EBE0F699165}" type="pres">
      <dgm:prSet presAssocID="{1EA8DE36-11DB-8C42-802D-DBF3205EB0FC}" presName="background3" presStyleLbl="node3" presStyleIdx="2" presStyleCnt="4"/>
      <dgm:spPr/>
    </dgm:pt>
    <dgm:pt modelId="{3E3529BF-94B9-2341-A86A-4227C469F8D0}" type="pres">
      <dgm:prSet presAssocID="{1EA8DE36-11DB-8C42-802D-DBF3205EB0FC}" presName="text3" presStyleLbl="fgAcc3" presStyleIdx="2" presStyleCnt="4">
        <dgm:presLayoutVars>
          <dgm:chPref val="3"/>
        </dgm:presLayoutVars>
      </dgm:prSet>
      <dgm:spPr/>
      <dgm:t>
        <a:bodyPr/>
        <a:lstStyle/>
        <a:p>
          <a:endParaRPr lang="en-US"/>
        </a:p>
      </dgm:t>
    </dgm:pt>
    <dgm:pt modelId="{788E1057-D0C6-984B-AC6D-4E3EEF944C0C}" type="pres">
      <dgm:prSet presAssocID="{1EA8DE36-11DB-8C42-802D-DBF3205EB0FC}" presName="hierChild4" presStyleCnt="0"/>
      <dgm:spPr/>
    </dgm:pt>
    <dgm:pt modelId="{91C900C9-348A-3E45-87ED-456D30D10D7D}" type="pres">
      <dgm:prSet presAssocID="{702B2123-1DFD-9E4C-B0AF-9AA2057299E5}" presName="Name17" presStyleLbl="parChTrans1D3" presStyleIdx="3" presStyleCnt="4"/>
      <dgm:spPr/>
      <dgm:t>
        <a:bodyPr/>
        <a:lstStyle/>
        <a:p>
          <a:endParaRPr lang="en-US"/>
        </a:p>
      </dgm:t>
    </dgm:pt>
    <dgm:pt modelId="{1AD9EDF0-1E5D-B34A-96E9-C904299F0841}" type="pres">
      <dgm:prSet presAssocID="{32346272-CBDB-5F4A-B4D5-DEFF0F8C4B27}" presName="hierRoot3" presStyleCnt="0"/>
      <dgm:spPr/>
    </dgm:pt>
    <dgm:pt modelId="{14A77682-D9C0-7E4F-B350-8BF0103A80D8}" type="pres">
      <dgm:prSet presAssocID="{32346272-CBDB-5F4A-B4D5-DEFF0F8C4B27}" presName="composite3" presStyleCnt="0"/>
      <dgm:spPr/>
    </dgm:pt>
    <dgm:pt modelId="{60F58D28-A0CA-1F45-B852-6B248FF21123}" type="pres">
      <dgm:prSet presAssocID="{32346272-CBDB-5F4A-B4D5-DEFF0F8C4B27}" presName="background3" presStyleLbl="node3" presStyleIdx="3" presStyleCnt="4"/>
      <dgm:spPr/>
    </dgm:pt>
    <dgm:pt modelId="{8CDB4A07-2D03-834A-AFB0-4E8D10C51554}" type="pres">
      <dgm:prSet presAssocID="{32346272-CBDB-5F4A-B4D5-DEFF0F8C4B27}" presName="text3" presStyleLbl="fgAcc3" presStyleIdx="3" presStyleCnt="4">
        <dgm:presLayoutVars>
          <dgm:chPref val="3"/>
        </dgm:presLayoutVars>
      </dgm:prSet>
      <dgm:spPr/>
      <dgm:t>
        <a:bodyPr/>
        <a:lstStyle/>
        <a:p>
          <a:endParaRPr lang="en-US"/>
        </a:p>
      </dgm:t>
    </dgm:pt>
    <dgm:pt modelId="{F7DF1254-EBF6-984B-AF3A-C29B70B16F71}" type="pres">
      <dgm:prSet presAssocID="{32346272-CBDB-5F4A-B4D5-DEFF0F8C4B27}" presName="hierChild4" presStyleCnt="0"/>
      <dgm:spPr/>
    </dgm:pt>
    <dgm:pt modelId="{7C861E8B-1F8D-B142-9DE6-CC9C61B2BF95}" type="pres">
      <dgm:prSet presAssocID="{3E308263-0FB8-DE43-92A9-CA02DF1424FD}" presName="Name23" presStyleLbl="parChTrans1D4" presStyleIdx="13" presStyleCnt="19"/>
      <dgm:spPr/>
      <dgm:t>
        <a:bodyPr/>
        <a:lstStyle/>
        <a:p>
          <a:endParaRPr lang="en-US"/>
        </a:p>
      </dgm:t>
    </dgm:pt>
    <dgm:pt modelId="{6C86D512-6691-F948-BBA0-715FF3E2F5B8}" type="pres">
      <dgm:prSet presAssocID="{7E876936-0963-FB4A-A944-98396BA48341}" presName="hierRoot4" presStyleCnt="0"/>
      <dgm:spPr/>
    </dgm:pt>
    <dgm:pt modelId="{98352DBF-6229-DE48-8C71-D1FDD948E9C9}" type="pres">
      <dgm:prSet presAssocID="{7E876936-0963-FB4A-A944-98396BA48341}" presName="composite4" presStyleCnt="0"/>
      <dgm:spPr/>
    </dgm:pt>
    <dgm:pt modelId="{8C93DED1-2DDB-D54B-AFC1-3A9E4BAD23B5}" type="pres">
      <dgm:prSet presAssocID="{7E876936-0963-FB4A-A944-98396BA48341}" presName="background4" presStyleLbl="node4" presStyleIdx="13" presStyleCnt="19"/>
      <dgm:spPr/>
    </dgm:pt>
    <dgm:pt modelId="{05824DED-BB50-1040-BEA7-6416C67E57A1}" type="pres">
      <dgm:prSet presAssocID="{7E876936-0963-FB4A-A944-98396BA48341}" presName="text4" presStyleLbl="fgAcc4" presStyleIdx="13" presStyleCnt="19">
        <dgm:presLayoutVars>
          <dgm:chPref val="3"/>
        </dgm:presLayoutVars>
      </dgm:prSet>
      <dgm:spPr/>
      <dgm:t>
        <a:bodyPr/>
        <a:lstStyle/>
        <a:p>
          <a:endParaRPr lang="en-US"/>
        </a:p>
      </dgm:t>
    </dgm:pt>
    <dgm:pt modelId="{71CCD57B-236D-E042-993E-DFD65D3B67E7}" type="pres">
      <dgm:prSet presAssocID="{7E876936-0963-FB4A-A944-98396BA48341}" presName="hierChild5" presStyleCnt="0"/>
      <dgm:spPr/>
    </dgm:pt>
    <dgm:pt modelId="{E2BD35FA-F3FE-8846-8FBC-0284DCAB08FA}" type="pres">
      <dgm:prSet presAssocID="{C0340516-5A90-624B-BAEC-E4C7C26D6C22}" presName="Name23" presStyleLbl="parChTrans1D4" presStyleIdx="14" presStyleCnt="19"/>
      <dgm:spPr/>
      <dgm:t>
        <a:bodyPr/>
        <a:lstStyle/>
        <a:p>
          <a:endParaRPr lang="en-US"/>
        </a:p>
      </dgm:t>
    </dgm:pt>
    <dgm:pt modelId="{929B1D9E-6746-D142-9329-8119DC11B04B}" type="pres">
      <dgm:prSet presAssocID="{AF78F04D-240E-6D4F-9BFD-732F4074793E}" presName="hierRoot4" presStyleCnt="0"/>
      <dgm:spPr/>
    </dgm:pt>
    <dgm:pt modelId="{F0627EC3-663F-6447-B440-F44DA7442C45}" type="pres">
      <dgm:prSet presAssocID="{AF78F04D-240E-6D4F-9BFD-732F4074793E}" presName="composite4" presStyleCnt="0"/>
      <dgm:spPr/>
    </dgm:pt>
    <dgm:pt modelId="{BD5D801E-16A9-904F-8A69-472076AD3213}" type="pres">
      <dgm:prSet presAssocID="{AF78F04D-240E-6D4F-9BFD-732F4074793E}" presName="background4" presStyleLbl="node4" presStyleIdx="14" presStyleCnt="19"/>
      <dgm:spPr/>
    </dgm:pt>
    <dgm:pt modelId="{F3BF705A-AB7E-434D-BB23-03FBA04B5064}" type="pres">
      <dgm:prSet presAssocID="{AF78F04D-240E-6D4F-9BFD-732F4074793E}" presName="text4" presStyleLbl="fgAcc4" presStyleIdx="14" presStyleCnt="19">
        <dgm:presLayoutVars>
          <dgm:chPref val="3"/>
        </dgm:presLayoutVars>
      </dgm:prSet>
      <dgm:spPr/>
      <dgm:t>
        <a:bodyPr/>
        <a:lstStyle/>
        <a:p>
          <a:endParaRPr lang="en-US"/>
        </a:p>
      </dgm:t>
    </dgm:pt>
    <dgm:pt modelId="{179546A2-1CEA-EE4F-8520-8F371EEADD63}" type="pres">
      <dgm:prSet presAssocID="{AF78F04D-240E-6D4F-9BFD-732F4074793E}" presName="hierChild5" presStyleCnt="0"/>
      <dgm:spPr/>
    </dgm:pt>
    <dgm:pt modelId="{3DC2442D-297D-B343-883C-653E5296DA9D}" type="pres">
      <dgm:prSet presAssocID="{951B68FD-B589-BF45-9A5E-ECCC7A6E7D63}" presName="Name23" presStyleLbl="parChTrans1D4" presStyleIdx="15" presStyleCnt="19"/>
      <dgm:spPr/>
      <dgm:t>
        <a:bodyPr/>
        <a:lstStyle/>
        <a:p>
          <a:endParaRPr lang="en-US"/>
        </a:p>
      </dgm:t>
    </dgm:pt>
    <dgm:pt modelId="{2883B39B-705E-5F49-A2A9-8E7161ACA16A}" type="pres">
      <dgm:prSet presAssocID="{D915E04F-E1FA-1F44-878A-165C0C4A5A6F}" presName="hierRoot4" presStyleCnt="0"/>
      <dgm:spPr/>
    </dgm:pt>
    <dgm:pt modelId="{306256F5-E4A2-4E48-ABDA-DDF95B2701BE}" type="pres">
      <dgm:prSet presAssocID="{D915E04F-E1FA-1F44-878A-165C0C4A5A6F}" presName="composite4" presStyleCnt="0"/>
      <dgm:spPr/>
    </dgm:pt>
    <dgm:pt modelId="{31B753A5-5FC4-5A4F-ADE6-2368F5910A42}" type="pres">
      <dgm:prSet presAssocID="{D915E04F-E1FA-1F44-878A-165C0C4A5A6F}" presName="background4" presStyleLbl="node4" presStyleIdx="15" presStyleCnt="19"/>
      <dgm:spPr/>
    </dgm:pt>
    <dgm:pt modelId="{A069CEA2-26F1-7D42-8C3B-FE448AB69D67}" type="pres">
      <dgm:prSet presAssocID="{D915E04F-E1FA-1F44-878A-165C0C4A5A6F}" presName="text4" presStyleLbl="fgAcc4" presStyleIdx="15" presStyleCnt="19">
        <dgm:presLayoutVars>
          <dgm:chPref val="3"/>
        </dgm:presLayoutVars>
      </dgm:prSet>
      <dgm:spPr/>
      <dgm:t>
        <a:bodyPr/>
        <a:lstStyle/>
        <a:p>
          <a:endParaRPr lang="en-US"/>
        </a:p>
      </dgm:t>
    </dgm:pt>
    <dgm:pt modelId="{A30E3AFF-6828-0349-B183-AD5D3F1FA61C}" type="pres">
      <dgm:prSet presAssocID="{D915E04F-E1FA-1F44-878A-165C0C4A5A6F}" presName="hierChild5" presStyleCnt="0"/>
      <dgm:spPr/>
    </dgm:pt>
    <dgm:pt modelId="{64F93824-4A34-3240-9D90-E8910E73B756}" type="pres">
      <dgm:prSet presAssocID="{80200090-559E-2D4B-B2A4-AF7B4263E3FE}" presName="Name23" presStyleLbl="parChTrans1D4" presStyleIdx="16" presStyleCnt="19"/>
      <dgm:spPr/>
      <dgm:t>
        <a:bodyPr/>
        <a:lstStyle/>
        <a:p>
          <a:endParaRPr lang="en-US"/>
        </a:p>
      </dgm:t>
    </dgm:pt>
    <dgm:pt modelId="{825DD0D4-BA2C-A643-91CA-54ADFF81CCB1}" type="pres">
      <dgm:prSet presAssocID="{51CC7D15-9E14-834F-954B-960D22CAC640}" presName="hierRoot4" presStyleCnt="0"/>
      <dgm:spPr/>
    </dgm:pt>
    <dgm:pt modelId="{F2579C97-9496-6741-9658-658733E64CF1}" type="pres">
      <dgm:prSet presAssocID="{51CC7D15-9E14-834F-954B-960D22CAC640}" presName="composite4" presStyleCnt="0"/>
      <dgm:spPr/>
    </dgm:pt>
    <dgm:pt modelId="{7C909D4A-ECF3-434D-B2C4-E66F20ED841E}" type="pres">
      <dgm:prSet presAssocID="{51CC7D15-9E14-834F-954B-960D22CAC640}" presName="background4" presStyleLbl="node4" presStyleIdx="16" presStyleCnt="19"/>
      <dgm:spPr/>
    </dgm:pt>
    <dgm:pt modelId="{07D36519-BD2C-8A41-9F88-CEDE0E723F2A}" type="pres">
      <dgm:prSet presAssocID="{51CC7D15-9E14-834F-954B-960D22CAC640}" presName="text4" presStyleLbl="fgAcc4" presStyleIdx="16" presStyleCnt="19">
        <dgm:presLayoutVars>
          <dgm:chPref val="3"/>
        </dgm:presLayoutVars>
      </dgm:prSet>
      <dgm:spPr/>
      <dgm:t>
        <a:bodyPr/>
        <a:lstStyle/>
        <a:p>
          <a:endParaRPr lang="en-US"/>
        </a:p>
      </dgm:t>
    </dgm:pt>
    <dgm:pt modelId="{E4C6C3F3-EEA7-E241-992D-C2DBB156A655}" type="pres">
      <dgm:prSet presAssocID="{51CC7D15-9E14-834F-954B-960D22CAC640}" presName="hierChild5" presStyleCnt="0"/>
      <dgm:spPr/>
    </dgm:pt>
    <dgm:pt modelId="{BCD1C62B-21C5-0D4C-A076-6947D355084D}" type="pres">
      <dgm:prSet presAssocID="{E439B9AE-526B-8045-A03A-3E502A9E277A}" presName="Name23" presStyleLbl="parChTrans1D4" presStyleIdx="17" presStyleCnt="19"/>
      <dgm:spPr/>
      <dgm:t>
        <a:bodyPr/>
        <a:lstStyle/>
        <a:p>
          <a:endParaRPr lang="en-US"/>
        </a:p>
      </dgm:t>
    </dgm:pt>
    <dgm:pt modelId="{A25AF30F-3CAB-E247-A57D-DFCA43B982FD}" type="pres">
      <dgm:prSet presAssocID="{C6F1E63D-06C9-F54A-84EF-47C791AE4724}" presName="hierRoot4" presStyleCnt="0"/>
      <dgm:spPr/>
    </dgm:pt>
    <dgm:pt modelId="{3C2291E2-23C1-B94A-AB9E-9EBF12DDC6F5}" type="pres">
      <dgm:prSet presAssocID="{C6F1E63D-06C9-F54A-84EF-47C791AE4724}" presName="composite4" presStyleCnt="0"/>
      <dgm:spPr/>
    </dgm:pt>
    <dgm:pt modelId="{59031055-1BC2-8F43-A4A3-A7F15F7BBEC5}" type="pres">
      <dgm:prSet presAssocID="{C6F1E63D-06C9-F54A-84EF-47C791AE4724}" presName="background4" presStyleLbl="node4" presStyleIdx="17" presStyleCnt="19"/>
      <dgm:spPr/>
    </dgm:pt>
    <dgm:pt modelId="{B20F10BF-BA5B-AD41-B946-049ECE63137C}" type="pres">
      <dgm:prSet presAssocID="{C6F1E63D-06C9-F54A-84EF-47C791AE4724}" presName="text4" presStyleLbl="fgAcc4" presStyleIdx="17" presStyleCnt="19">
        <dgm:presLayoutVars>
          <dgm:chPref val="3"/>
        </dgm:presLayoutVars>
      </dgm:prSet>
      <dgm:spPr/>
      <dgm:t>
        <a:bodyPr/>
        <a:lstStyle/>
        <a:p>
          <a:endParaRPr lang="en-US"/>
        </a:p>
      </dgm:t>
    </dgm:pt>
    <dgm:pt modelId="{CAE1093E-AB94-3746-9543-AF49A9221D18}" type="pres">
      <dgm:prSet presAssocID="{C6F1E63D-06C9-F54A-84EF-47C791AE4724}" presName="hierChild5" presStyleCnt="0"/>
      <dgm:spPr/>
    </dgm:pt>
    <dgm:pt modelId="{BEED4007-21AE-5C48-B470-C588FEA7AAED}" type="pres">
      <dgm:prSet presAssocID="{D7AB77D6-6F3D-3D4C-A64F-B91C24D0907E}" presName="Name23" presStyleLbl="parChTrans1D4" presStyleIdx="18" presStyleCnt="19"/>
      <dgm:spPr/>
      <dgm:t>
        <a:bodyPr/>
        <a:lstStyle/>
        <a:p>
          <a:endParaRPr lang="en-US"/>
        </a:p>
      </dgm:t>
    </dgm:pt>
    <dgm:pt modelId="{C8921CDB-BFBE-9648-9CDA-684950129D5C}" type="pres">
      <dgm:prSet presAssocID="{D96A6A7B-A591-384B-B6B8-F902C60E4067}" presName="hierRoot4" presStyleCnt="0"/>
      <dgm:spPr/>
    </dgm:pt>
    <dgm:pt modelId="{F5E28B5A-EE21-CE47-AB16-A3B6BC905ABE}" type="pres">
      <dgm:prSet presAssocID="{D96A6A7B-A591-384B-B6B8-F902C60E4067}" presName="composite4" presStyleCnt="0"/>
      <dgm:spPr/>
    </dgm:pt>
    <dgm:pt modelId="{832AC448-1B23-9F46-80AD-DE4443B3E350}" type="pres">
      <dgm:prSet presAssocID="{D96A6A7B-A591-384B-B6B8-F902C60E4067}" presName="background4" presStyleLbl="node4" presStyleIdx="18" presStyleCnt="19"/>
      <dgm:spPr/>
    </dgm:pt>
    <dgm:pt modelId="{ABE38C49-F9E7-5E47-A91F-7E424E6B6656}" type="pres">
      <dgm:prSet presAssocID="{D96A6A7B-A591-384B-B6B8-F902C60E4067}" presName="text4" presStyleLbl="fgAcc4" presStyleIdx="18" presStyleCnt="19">
        <dgm:presLayoutVars>
          <dgm:chPref val="3"/>
        </dgm:presLayoutVars>
      </dgm:prSet>
      <dgm:spPr/>
      <dgm:t>
        <a:bodyPr/>
        <a:lstStyle/>
        <a:p>
          <a:endParaRPr lang="en-US"/>
        </a:p>
      </dgm:t>
    </dgm:pt>
    <dgm:pt modelId="{D11BFEAB-1780-4443-9165-DEB151A95C66}" type="pres">
      <dgm:prSet presAssocID="{D96A6A7B-A591-384B-B6B8-F902C60E4067}" presName="hierChild5" presStyleCnt="0"/>
      <dgm:spPr/>
    </dgm:pt>
  </dgm:ptLst>
  <dgm:cxnLst>
    <dgm:cxn modelId="{17239B4C-1602-A844-AC54-8E108079FB61}" type="presOf" srcId="{702B2123-1DFD-9E4C-B0AF-9AA2057299E5}" destId="{91C900C9-348A-3E45-87ED-456D30D10D7D}" srcOrd="0" destOrd="0" presId="urn:microsoft.com/office/officeart/2005/8/layout/hierarchy1"/>
    <dgm:cxn modelId="{BA22B7DF-1211-BF43-8A4C-4B766635513C}" type="presOf" srcId="{FD2DC9C9-CCF8-6D47-A8AF-7E8440F609A2}" destId="{041119CE-361E-6D4A-9899-F5AB6B6B890A}" srcOrd="0" destOrd="0" presId="urn:microsoft.com/office/officeart/2005/8/layout/hierarchy1"/>
    <dgm:cxn modelId="{253EF23F-A218-164E-9E94-3441769D4485}" type="presOf" srcId="{A79BF495-F1C0-D24F-A2B1-ECCCA8C982A5}" destId="{3A5658C4-FA78-F740-BBDD-C38C285609DF}" srcOrd="0" destOrd="0" presId="urn:microsoft.com/office/officeart/2005/8/layout/hierarchy1"/>
    <dgm:cxn modelId="{B1A6795E-1BB2-8D45-BBC6-49CE16C67BCB}" type="presOf" srcId="{D17746AC-C55C-3542-90FF-03AA49AE8E6C}" destId="{A12804F0-2DA6-E34A-A6D0-4548E269FDB0}" srcOrd="0" destOrd="0" presId="urn:microsoft.com/office/officeart/2005/8/layout/hierarchy1"/>
    <dgm:cxn modelId="{01FBAB00-D160-4047-9A5A-FA758FC27146}" type="presOf" srcId="{31CB8142-E2B0-554C-ADE0-799AE57427E3}" destId="{03BDC2CF-8A5D-5E4C-9788-4AFCFDD52DD3}" srcOrd="0" destOrd="0" presId="urn:microsoft.com/office/officeart/2005/8/layout/hierarchy1"/>
    <dgm:cxn modelId="{CA7DE267-0DA3-8140-AE9C-A449272B70BD}" srcId="{A03EB91D-21F2-3443-9986-C00ADD74CE87}" destId="{92C1A3C9-5785-C841-B349-8404B605360C}" srcOrd="1" destOrd="0" parTransId="{3BB8D765-D3B0-6D4B-AE9A-9252A1A5614F}" sibTransId="{ED1BF199-7284-0B45-9AA4-BE74BC436F1E}"/>
    <dgm:cxn modelId="{8908B917-5143-B447-ADB6-2921F1ABDF15}" type="presOf" srcId="{D96A6A7B-A591-384B-B6B8-F902C60E4067}" destId="{ABE38C49-F9E7-5E47-A91F-7E424E6B6656}" srcOrd="0" destOrd="0" presId="urn:microsoft.com/office/officeart/2005/8/layout/hierarchy1"/>
    <dgm:cxn modelId="{2F48423D-C31E-E84A-8734-1760F281BE10}" srcId="{5E4428FE-F7DF-A648-97F2-0E7D67381C81}" destId="{2AD451F8-1E50-EE40-AC6F-A54A5B598466}" srcOrd="0" destOrd="0" parTransId="{ED9C87D1-E43E-7C4A-8855-0F5A2300A785}" sibTransId="{6153A876-1460-7B48-8CEC-2EE270F492DC}"/>
    <dgm:cxn modelId="{3ADAFD55-55D8-EA4D-99F1-B960922EF893}" type="presOf" srcId="{D442C324-979C-3840-AA5A-AA0636E387F7}" destId="{048F2AA8-3106-1549-A86D-816408887124}" srcOrd="0" destOrd="0" presId="urn:microsoft.com/office/officeart/2005/8/layout/hierarchy1"/>
    <dgm:cxn modelId="{05703327-A06E-3241-B91B-41D0BDA42E55}" type="presOf" srcId="{32346272-CBDB-5F4A-B4D5-DEFF0F8C4B27}" destId="{8CDB4A07-2D03-834A-AFB0-4E8D10C51554}" srcOrd="0" destOrd="0" presId="urn:microsoft.com/office/officeart/2005/8/layout/hierarchy1"/>
    <dgm:cxn modelId="{42B41F14-7015-024F-9088-5D213C9B0BF4}" srcId="{4D329CB5-16BC-E346-B331-44F6D575BC56}" destId="{1C597B71-7C60-6C49-961A-93426DDD7946}" srcOrd="1" destOrd="0" parTransId="{B3E1C127-F445-8542-9BBE-F1056B70A093}" sibTransId="{3B914599-508E-DD40-97DC-D8A5CDA3B90D}"/>
    <dgm:cxn modelId="{77F5D7BF-1931-084A-8F2E-5B576BEAED3D}" type="presOf" srcId="{ED9C87D1-E43E-7C4A-8855-0F5A2300A785}" destId="{2CD2BB25-82FE-0343-8126-F2533F318E2A}" srcOrd="0" destOrd="0" presId="urn:microsoft.com/office/officeart/2005/8/layout/hierarchy1"/>
    <dgm:cxn modelId="{AE10C828-8B73-5F4B-B426-595B24087D90}" type="presOf" srcId="{97A446BB-FF3C-BE46-8C82-34274356F64D}" destId="{38FF51C3-4FAA-C944-9907-7C794D15F020}" srcOrd="0" destOrd="0" presId="urn:microsoft.com/office/officeart/2005/8/layout/hierarchy1"/>
    <dgm:cxn modelId="{E3FD67E8-5AAE-6A45-8E27-1FFC8241E5C2}" type="presOf" srcId="{D915E04F-E1FA-1F44-878A-165C0C4A5A6F}" destId="{A069CEA2-26F1-7D42-8C3B-FE448AB69D67}" srcOrd="0" destOrd="0" presId="urn:microsoft.com/office/officeart/2005/8/layout/hierarchy1"/>
    <dgm:cxn modelId="{47A1EDEC-219E-AF4E-8C23-63672EB50AEF}" type="presOf" srcId="{BFF7DB44-871C-A549-B374-6F6EAB09EBC0}" destId="{4D22C701-D4EA-6541-9C37-8381FFEAD667}" srcOrd="0" destOrd="0" presId="urn:microsoft.com/office/officeart/2005/8/layout/hierarchy1"/>
    <dgm:cxn modelId="{5BE5B654-A48A-4541-8F7D-C732F9AED70C}" srcId="{92C1A3C9-5785-C841-B349-8404B605360C}" destId="{86845B6C-E3EB-4249-94FA-5E9BC1650BBD}" srcOrd="0" destOrd="0" parTransId="{1A21E546-767D-8943-ABEB-3A3C5AEBE220}" sibTransId="{E12C614B-3394-B443-8190-22618C2EA633}"/>
    <dgm:cxn modelId="{50A5A4B0-30B7-E94C-A575-BED92B407FAC}" type="presOf" srcId="{A03EB91D-21F2-3443-9986-C00ADD74CE87}" destId="{B170A95A-B3C2-A143-BD7C-DB6F30C319BF}" srcOrd="0" destOrd="0" presId="urn:microsoft.com/office/officeart/2005/8/layout/hierarchy1"/>
    <dgm:cxn modelId="{A22D7230-AE11-DD40-9E39-2C4FBC5D4186}" type="presOf" srcId="{1A21E546-767D-8943-ABEB-3A3C5AEBE220}" destId="{C45442A0-B0E4-504D-8187-E1C01B448AC8}" srcOrd="0" destOrd="0" presId="urn:microsoft.com/office/officeart/2005/8/layout/hierarchy1"/>
    <dgm:cxn modelId="{3CC6DCA4-8983-9843-809B-2DC3CE7D2FF6}" srcId="{5E4428FE-F7DF-A648-97F2-0E7D67381C81}" destId="{256F0526-7650-8B42-8F5A-BF2862CBB805}" srcOrd="1" destOrd="0" parTransId="{7524EE42-6049-CA4A-9308-CF5105DFB901}" sibTransId="{72BBA860-A254-0E48-B886-B5E48627C433}"/>
    <dgm:cxn modelId="{D96B527A-30EE-9C4B-A3B3-661FCB598299}" type="presOf" srcId="{B22054E1-7E64-FA43-8CF3-B23FC946E1DC}" destId="{267CE148-E222-F24A-9DE9-377346E5E093}" srcOrd="0" destOrd="0" presId="urn:microsoft.com/office/officeart/2005/8/layout/hierarchy1"/>
    <dgm:cxn modelId="{E5A272F6-D1E8-AE49-8354-A4D5A180921D}" srcId="{C6F1E63D-06C9-F54A-84EF-47C791AE4724}" destId="{D96A6A7B-A591-384B-B6B8-F902C60E4067}" srcOrd="0" destOrd="0" parTransId="{D7AB77D6-6F3D-3D4C-A64F-B91C24D0907E}" sibTransId="{DBF8817E-36C0-E741-9924-3A37BEBF3422}"/>
    <dgm:cxn modelId="{0C4D7573-F393-A342-8700-B789DC4AF06E}" type="presOf" srcId="{7A46211E-4C6C-E647-9420-C7F305EB619B}" destId="{8757CED1-F6CC-7A43-88EF-D40EB895CD32}" srcOrd="0" destOrd="0" presId="urn:microsoft.com/office/officeart/2005/8/layout/hierarchy1"/>
    <dgm:cxn modelId="{EA59ED38-6353-F04A-A7E9-B17555CF5DA0}" type="presOf" srcId="{4D329CB5-16BC-E346-B331-44F6D575BC56}" destId="{2BF37921-DFCF-544B-AEBD-17B356FF1227}" srcOrd="0" destOrd="0" presId="urn:microsoft.com/office/officeart/2005/8/layout/hierarchy1"/>
    <dgm:cxn modelId="{5B48D82F-0FEC-F344-8D3B-F7F23315ACD8}" type="presOf" srcId="{A3841B15-433F-8844-B60C-6215250ECFB1}" destId="{13068196-C853-604C-8748-B282436CD6ED}" srcOrd="0" destOrd="0" presId="urn:microsoft.com/office/officeart/2005/8/layout/hierarchy1"/>
    <dgm:cxn modelId="{C4EDE0F9-F040-D543-B3C6-773574EA1C41}" type="presOf" srcId="{D7AB77D6-6F3D-3D4C-A64F-B91C24D0907E}" destId="{BEED4007-21AE-5C48-B470-C588FEA7AAED}" srcOrd="0" destOrd="0" presId="urn:microsoft.com/office/officeart/2005/8/layout/hierarchy1"/>
    <dgm:cxn modelId="{91C48F4F-C532-9C47-8A54-F631926E738B}" srcId="{32346272-CBDB-5F4A-B4D5-DEFF0F8C4B27}" destId="{C6F1E63D-06C9-F54A-84EF-47C791AE4724}" srcOrd="4" destOrd="0" parTransId="{E439B9AE-526B-8045-A03A-3E502A9E277A}" sibTransId="{BFB47EB3-B853-704D-85EA-0F809177C57A}"/>
    <dgm:cxn modelId="{B29C3C51-E3F8-2C47-ADD1-84A7503FE825}" type="presOf" srcId="{86845B6C-E3EB-4249-94FA-5E9BC1650BBD}" destId="{545DFBC1-1B7B-3041-A4D6-A93259FC61EA}" srcOrd="0" destOrd="0" presId="urn:microsoft.com/office/officeart/2005/8/layout/hierarchy1"/>
    <dgm:cxn modelId="{E8AF9999-6BAF-7147-98AF-0BC66DFF931E}" type="presOf" srcId="{B3E1C127-F445-8542-9BBE-F1056B70A093}" destId="{89047588-BF48-A74D-A6B6-F0866F82C690}" srcOrd="0" destOrd="0" presId="urn:microsoft.com/office/officeart/2005/8/layout/hierarchy1"/>
    <dgm:cxn modelId="{D957891C-0523-EC45-8AAB-03E88ED1DA38}" type="presOf" srcId="{DD4DCB98-5D53-C549-8F15-82393D7494B2}" destId="{80C32E74-2028-5A45-B638-2DE55690566F}" srcOrd="0" destOrd="0" presId="urn:microsoft.com/office/officeart/2005/8/layout/hierarchy1"/>
    <dgm:cxn modelId="{147E9DCD-96FC-F749-BC6D-83E0C8E0E758}" type="presOf" srcId="{32170FD4-B1E6-B14B-9A98-019AE3CFE3E9}" destId="{A5F9AC86-AECD-F54F-A9C2-FEB40BA7723B}" srcOrd="0" destOrd="0" presId="urn:microsoft.com/office/officeart/2005/8/layout/hierarchy1"/>
    <dgm:cxn modelId="{B5EFB1F2-A966-1F42-814F-8927BE65289A}" type="presOf" srcId="{256F0526-7650-8B42-8F5A-BF2862CBB805}" destId="{50165507-CC5B-7449-86A2-C8E800C3FC5E}" srcOrd="0" destOrd="0" presId="urn:microsoft.com/office/officeart/2005/8/layout/hierarchy1"/>
    <dgm:cxn modelId="{706ADF37-88F9-F94F-8D92-C2EA225339C2}" type="presOf" srcId="{C6F1E63D-06C9-F54A-84EF-47C791AE4724}" destId="{B20F10BF-BA5B-AD41-B946-049ECE63137C}" srcOrd="0" destOrd="0" presId="urn:microsoft.com/office/officeart/2005/8/layout/hierarchy1"/>
    <dgm:cxn modelId="{F9CA47C8-2245-EF4F-9BFD-7EEB1F0CD75B}" type="presOf" srcId="{6D2A78B4-BC03-BD46-9698-28BD3AA9885A}" destId="{10C570C9-8ACD-FD40-85F9-8196E4B7D136}" srcOrd="0" destOrd="0" presId="urn:microsoft.com/office/officeart/2005/8/layout/hierarchy1"/>
    <dgm:cxn modelId="{C4773DA6-F7ED-D54E-9320-963A88F430D3}" type="presOf" srcId="{3BB8D765-D3B0-6D4B-AE9A-9252A1A5614F}" destId="{B561EAB9-9C90-814A-B65E-A9C9AAD599AD}" srcOrd="0" destOrd="0" presId="urn:microsoft.com/office/officeart/2005/8/layout/hierarchy1"/>
    <dgm:cxn modelId="{830495EB-9C00-B546-9609-1C0F5D16D3C4}" type="presOf" srcId="{3E308263-0FB8-DE43-92A9-CA02DF1424FD}" destId="{7C861E8B-1F8D-B142-9DE6-CC9C61B2BF95}" srcOrd="0" destOrd="0" presId="urn:microsoft.com/office/officeart/2005/8/layout/hierarchy1"/>
    <dgm:cxn modelId="{32B78589-6E70-8846-9AE3-4124293F1EE9}" type="presOf" srcId="{423BD63D-0734-8448-B986-6CB8BADC8C94}" destId="{89C9FD81-6B92-7D44-84CE-0EEC3A025F36}" srcOrd="0" destOrd="0" presId="urn:microsoft.com/office/officeart/2005/8/layout/hierarchy1"/>
    <dgm:cxn modelId="{AFCD3724-1488-CE48-AC1A-8F54CABB83DC}" srcId="{A3841B15-433F-8844-B60C-6215250ECFB1}" destId="{32346272-CBDB-5F4A-B4D5-DEFF0F8C4B27}" srcOrd="1" destOrd="0" parTransId="{702B2123-1DFD-9E4C-B0AF-9AA2057299E5}" sibTransId="{57A11CAF-90B8-9D42-93B4-F81AC054AF39}"/>
    <dgm:cxn modelId="{7EF99A91-62F1-8B4F-BC9E-2578F21A8155}" type="presOf" srcId="{2AD451F8-1E50-EE40-AC6F-A54A5B598466}" destId="{C93E5572-8301-2E45-90B4-2BEF3E8B20E5}" srcOrd="0" destOrd="0" presId="urn:microsoft.com/office/officeart/2005/8/layout/hierarchy1"/>
    <dgm:cxn modelId="{64680C20-91C5-924E-A446-3B573FBF7076}" type="presOf" srcId="{1C597B71-7C60-6C49-961A-93426DDD7946}" destId="{8866EF12-8DD5-C74A-99D0-353E183E8C46}" srcOrd="0" destOrd="0" presId="urn:microsoft.com/office/officeart/2005/8/layout/hierarchy1"/>
    <dgm:cxn modelId="{9EFCC042-F634-CB4F-8C59-7E20B461386C}" type="presOf" srcId="{E3ACB3B7-2326-8143-B09C-C7B590E92A6F}" destId="{9F5F831E-B5E7-1540-AC73-26C91ABB260F}" srcOrd="0" destOrd="0" presId="urn:microsoft.com/office/officeart/2005/8/layout/hierarchy1"/>
    <dgm:cxn modelId="{13DA45C4-12E3-4845-BC06-EAEE208D0A57}" type="presOf" srcId="{5EFDD1BC-A2C6-2446-8BA8-93BEF38BD358}" destId="{1B1E2F4F-56DD-C349-8A5B-11E3EE359C78}" srcOrd="0" destOrd="0" presId="urn:microsoft.com/office/officeart/2005/8/layout/hierarchy1"/>
    <dgm:cxn modelId="{176ED9BA-1774-FB43-A759-208A8714B353}" srcId="{4D329CB5-16BC-E346-B331-44F6D575BC56}" destId="{D17746AC-C55C-3542-90FF-03AA49AE8E6C}" srcOrd="0" destOrd="0" parTransId="{97A446BB-FF3C-BE46-8C82-34274356F64D}" sibTransId="{FDBBD0B1-5495-6E4E-ADF5-104517E189F1}"/>
    <dgm:cxn modelId="{92792B65-6656-C742-9D74-98C53FF80B66}" srcId="{E3ACB3B7-2326-8143-B09C-C7B590E92A6F}" destId="{5E4428FE-F7DF-A648-97F2-0E7D67381C81}" srcOrd="0" destOrd="0" parTransId="{6D2A78B4-BC03-BD46-9698-28BD3AA9885A}" sibTransId="{06854604-405F-BF4F-BBFC-BE82F5406181}"/>
    <dgm:cxn modelId="{4452800B-DDF5-254B-AA65-41510EBB788D}" type="presOf" srcId="{E563FB06-3523-0A48-A8B9-55907FC3689E}" destId="{A188263D-53C1-8A4E-BDCE-77BD616F55DC}" srcOrd="0" destOrd="0" presId="urn:microsoft.com/office/officeart/2005/8/layout/hierarchy1"/>
    <dgm:cxn modelId="{F2CE1766-7CBD-0C45-8C2F-3948725F3700}" type="presOf" srcId="{E77870FD-6307-1D4A-854C-C8AD028015AB}" destId="{0F1CC619-AD04-A34C-AF51-5E656478B12B}" srcOrd="0" destOrd="0" presId="urn:microsoft.com/office/officeart/2005/8/layout/hierarchy1"/>
    <dgm:cxn modelId="{6BF25AB5-2F0F-C84E-8FFB-9A57FFBF7B3C}" srcId="{FD2DC9C9-CCF8-6D47-A8AF-7E8440F609A2}" destId="{D442C324-979C-3840-AA5A-AA0636E387F7}" srcOrd="0" destOrd="0" parTransId="{F405F5A3-0A03-1043-8B4C-C8712E0CE354}" sibTransId="{8A89DF82-C8BA-8D45-A9B9-A6D6DB1BD6B6}"/>
    <dgm:cxn modelId="{3C902C23-32E1-2A41-A65E-CC334FE92FA8}" srcId="{92C1A3C9-5785-C841-B349-8404B605360C}" destId="{0791D800-C0B9-5543-B6C7-0000447B2EAF}" srcOrd="2" destOrd="0" parTransId="{DD4DCB98-5D53-C549-8F15-82393D7494B2}" sibTransId="{1BFCDD96-726A-C240-B2EE-BD9158C0BA47}"/>
    <dgm:cxn modelId="{10EA8808-E13B-904C-8EF9-00DC33BFD8C0}" srcId="{A3841B15-433F-8844-B60C-6215250ECFB1}" destId="{1EA8DE36-11DB-8C42-802D-DBF3205EB0FC}" srcOrd="0" destOrd="0" parTransId="{A79BF495-F1C0-D24F-A2B1-ECCCA8C982A5}" sibTransId="{AF841A1F-3B14-5747-839C-7A3C7DC3AE3A}"/>
    <dgm:cxn modelId="{96E7BBDB-A8E6-AE4B-8BB9-6C584F75DFC5}" srcId="{D442C324-979C-3840-AA5A-AA0636E387F7}" destId="{A03EB91D-21F2-3443-9986-C00ADD74CE87}" srcOrd="0" destOrd="0" parTransId="{5EFDD1BC-A2C6-2446-8BA8-93BEF38BD358}" sibTransId="{F1914F61-5C99-3444-9C88-C5605ED05A76}"/>
    <dgm:cxn modelId="{A496208C-E9A0-164C-A510-1AE7CB4F656E}" type="presOf" srcId="{AF78F04D-240E-6D4F-9BFD-732F4074793E}" destId="{F3BF705A-AB7E-434D-BB23-03FBA04B5064}" srcOrd="0" destOrd="0" presId="urn:microsoft.com/office/officeart/2005/8/layout/hierarchy1"/>
    <dgm:cxn modelId="{FDDA8889-52CC-5549-A73D-39FE2D38B307}" type="presOf" srcId="{951B68FD-B589-BF45-9A5E-ECCC7A6E7D63}" destId="{3DC2442D-297D-B343-883C-653E5296DA9D}" srcOrd="0" destOrd="0" presId="urn:microsoft.com/office/officeart/2005/8/layout/hierarchy1"/>
    <dgm:cxn modelId="{A352AA82-41AF-3A4B-B166-693ED25A640A}" type="presOf" srcId="{12D84148-2F79-B644-8F9E-8C923D4C7FA7}" destId="{1A996277-C9DB-1A49-9160-C400C5DD19DF}" srcOrd="0" destOrd="0" presId="urn:microsoft.com/office/officeart/2005/8/layout/hierarchy1"/>
    <dgm:cxn modelId="{AB643072-B5C0-ED41-BC0B-278D17580816}" srcId="{E3ACB3B7-2326-8143-B09C-C7B590E92A6F}" destId="{4D329CB5-16BC-E346-B331-44F6D575BC56}" srcOrd="1" destOrd="0" parTransId="{BFF7DB44-871C-A549-B374-6F6EAB09EBC0}" sibTransId="{5CF7A84E-D677-554E-8EE2-431AD1744C1C}"/>
    <dgm:cxn modelId="{67EAAA73-9218-B042-97CD-4F4E5CAF413A}" srcId="{92C1A3C9-5785-C841-B349-8404B605360C}" destId="{782281E5-8996-6B4C-AEE3-29B3A1F3DA0E}" srcOrd="1" destOrd="0" parTransId="{32170FD4-B1E6-B14B-9A98-019AE3CFE3E9}" sibTransId="{1A1FDDD7-5B0B-8A4F-9EB9-8BD2132B48BC}"/>
    <dgm:cxn modelId="{C89B9D18-CB6F-7B4B-9440-BBAA1EE49DF0}" srcId="{4D329CB5-16BC-E346-B331-44F6D575BC56}" destId="{E717B514-B08B-684F-B6AE-36D8C6222889}" srcOrd="3" destOrd="0" parTransId="{7C5F58A0-63E1-4841-BCAC-30156D013EA1}" sibTransId="{3EF6788C-2323-5046-8C4E-162110B261F8}"/>
    <dgm:cxn modelId="{8FDE5B8D-0BEE-1149-A1B1-8FAAD9D79444}" type="presOf" srcId="{E717B514-B08B-684F-B6AE-36D8C6222889}" destId="{CA157E24-A511-0043-8F75-04AB9C1BD51A}" srcOrd="0" destOrd="0" presId="urn:microsoft.com/office/officeart/2005/8/layout/hierarchy1"/>
    <dgm:cxn modelId="{CC8B8B01-324D-DB4A-B6DB-8A8240FF8EE4}" type="presOf" srcId="{1EA8DE36-11DB-8C42-802D-DBF3205EB0FC}" destId="{3E3529BF-94B9-2341-A86A-4227C469F8D0}" srcOrd="0" destOrd="0" presId="urn:microsoft.com/office/officeart/2005/8/layout/hierarchy1"/>
    <dgm:cxn modelId="{DA2B62EB-E051-AE4E-AA8B-509BD2597625}" srcId="{A03EB91D-21F2-3443-9986-C00ADD74CE87}" destId="{E3ACB3B7-2326-8143-B09C-C7B590E92A6F}" srcOrd="0" destOrd="0" parTransId="{7A46211E-4C6C-E647-9420-C7F305EB619B}" sibTransId="{0BAD2BE8-71C5-0C47-91EE-FD303EC97BA9}"/>
    <dgm:cxn modelId="{6A8E89C7-AF9E-7F49-B822-72F06C7831C7}" srcId="{4D329CB5-16BC-E346-B331-44F6D575BC56}" destId="{9AEC087F-52B9-F74F-860E-120051E9476D}" srcOrd="2" destOrd="0" parTransId="{E563FB06-3523-0A48-A8B9-55907FC3689E}" sibTransId="{B4B55BF0-A742-4742-A81D-F71EAADFD038}"/>
    <dgm:cxn modelId="{4FA5B4BD-B328-EE4E-8EB2-1E9464725D98}" type="presOf" srcId="{92C1A3C9-5785-C841-B349-8404B605360C}" destId="{CA4F720E-F48D-3749-9283-86683DE1ED80}" srcOrd="0" destOrd="0" presId="urn:microsoft.com/office/officeart/2005/8/layout/hierarchy1"/>
    <dgm:cxn modelId="{787DE55B-B5C3-0748-9B36-E1AA4787C5EB}" type="presOf" srcId="{5E4428FE-F7DF-A648-97F2-0E7D67381C81}" destId="{FD165631-DE07-8A4B-A42E-FC4AF22097E1}" srcOrd="0" destOrd="0" presId="urn:microsoft.com/office/officeart/2005/8/layout/hierarchy1"/>
    <dgm:cxn modelId="{96926127-75B8-4346-9C2F-A8140B814070}" srcId="{5E4428FE-F7DF-A648-97F2-0E7D67381C81}" destId="{423BD63D-0734-8448-B986-6CB8BADC8C94}" srcOrd="2" destOrd="0" parTransId="{E77870FD-6307-1D4A-854C-C8AD028015AB}" sibTransId="{1206CC2B-D25B-6146-8BB3-D09E1B9CD087}"/>
    <dgm:cxn modelId="{5C2E57BB-8888-9546-B215-D37B156523F7}" type="presOf" srcId="{7C5F58A0-63E1-4841-BCAC-30156D013EA1}" destId="{015CA630-71EE-994E-BDF9-B4E5D34D9F42}" srcOrd="0" destOrd="0" presId="urn:microsoft.com/office/officeart/2005/8/layout/hierarchy1"/>
    <dgm:cxn modelId="{7D56FE70-6129-A94C-BC31-34ADE07B4CCF}" srcId="{32346272-CBDB-5F4A-B4D5-DEFF0F8C4B27}" destId="{51CC7D15-9E14-834F-954B-960D22CAC640}" srcOrd="3" destOrd="0" parTransId="{80200090-559E-2D4B-B2A4-AF7B4263E3FE}" sibTransId="{DC88DFBE-160E-FB42-B4DE-0442EBDBC143}"/>
    <dgm:cxn modelId="{53694AF6-349A-334B-B741-AE250281D3BE}" type="presOf" srcId="{7E876936-0963-FB4A-A944-98396BA48341}" destId="{05824DED-BB50-1040-BEA7-6416C67E57A1}" srcOrd="0" destOrd="0" presId="urn:microsoft.com/office/officeart/2005/8/layout/hierarchy1"/>
    <dgm:cxn modelId="{22F2E80D-EDB5-244C-A568-860260211719}" type="presOf" srcId="{7524EE42-6049-CA4A-9308-CF5105DFB901}" destId="{EDDED70B-DBE4-8A41-8326-FDC547C20B2B}" srcOrd="0" destOrd="0" presId="urn:microsoft.com/office/officeart/2005/8/layout/hierarchy1"/>
    <dgm:cxn modelId="{3FE06A3C-5746-7742-8B07-708E3654A2BC}" type="presOf" srcId="{782281E5-8996-6B4C-AEE3-29B3A1F3DA0E}" destId="{278225A1-DE14-A441-972A-42C3E480B430}" srcOrd="0" destOrd="0" presId="urn:microsoft.com/office/officeart/2005/8/layout/hierarchy1"/>
    <dgm:cxn modelId="{315B6165-1818-174D-8582-13B1FED837EE}" type="presOf" srcId="{E439B9AE-526B-8045-A03A-3E502A9E277A}" destId="{BCD1C62B-21C5-0D4C-A076-6947D355084D}" srcOrd="0" destOrd="0" presId="urn:microsoft.com/office/officeart/2005/8/layout/hierarchy1"/>
    <dgm:cxn modelId="{5ED6B794-EB0E-4E4E-9AA1-765D85AAF818}" type="presOf" srcId="{9AEC087F-52B9-F74F-860E-120051E9476D}" destId="{ECE3DBC5-BF77-F44F-A62D-10A3CBF613EF}" srcOrd="0" destOrd="0" presId="urn:microsoft.com/office/officeart/2005/8/layout/hierarchy1"/>
    <dgm:cxn modelId="{AA98CABD-1B7C-0843-92E3-F77D63D5E192}" srcId="{5E4428FE-F7DF-A648-97F2-0E7D67381C81}" destId="{31CB8142-E2B0-554C-ADE0-799AE57427E3}" srcOrd="3" destOrd="0" parTransId="{B22054E1-7E64-FA43-8CF3-B23FC946E1DC}" sibTransId="{6D127D6E-ED87-5846-8990-82036310A6B4}"/>
    <dgm:cxn modelId="{12D44269-F7D3-5245-85BA-BD0C622409DE}" type="presOf" srcId="{C0340516-5A90-624B-BAEC-E4C7C26D6C22}" destId="{E2BD35FA-F3FE-8846-8FBC-0284DCAB08FA}" srcOrd="0" destOrd="0" presId="urn:microsoft.com/office/officeart/2005/8/layout/hierarchy1"/>
    <dgm:cxn modelId="{BCBDAE1F-D12C-4E46-883F-5BA0982C0D7D}" srcId="{32346272-CBDB-5F4A-B4D5-DEFF0F8C4B27}" destId="{7E876936-0963-FB4A-A944-98396BA48341}" srcOrd="0" destOrd="0" parTransId="{3E308263-0FB8-DE43-92A9-CA02DF1424FD}" sibTransId="{1CBC1968-EC5F-9B4D-9DD6-53C2BD79CD3A}"/>
    <dgm:cxn modelId="{193A06E4-86C0-A648-9A6F-7553DC5F90C6}" srcId="{32346272-CBDB-5F4A-B4D5-DEFF0F8C4B27}" destId="{D915E04F-E1FA-1F44-878A-165C0C4A5A6F}" srcOrd="2" destOrd="0" parTransId="{951B68FD-B589-BF45-9A5E-ECCC7A6E7D63}" sibTransId="{00B87D39-AE3F-CD40-B823-9F9E0B54AE1E}"/>
    <dgm:cxn modelId="{62DEB127-4A33-DA4D-B1F1-29D2DFF76806}" type="presOf" srcId="{80200090-559E-2D4B-B2A4-AF7B4263E3FE}" destId="{64F93824-4A34-3240-9D90-E8910E73B756}" srcOrd="0" destOrd="0" presId="urn:microsoft.com/office/officeart/2005/8/layout/hierarchy1"/>
    <dgm:cxn modelId="{6FB96658-7BD7-4340-863D-576FDB1D65FC}" type="presOf" srcId="{0791D800-C0B9-5543-B6C7-0000447B2EAF}" destId="{E507C385-AB6A-9546-B456-C49DBAA17A09}" srcOrd="0" destOrd="0" presId="urn:microsoft.com/office/officeart/2005/8/layout/hierarchy1"/>
    <dgm:cxn modelId="{47E3DF12-21CA-B94E-B0BD-8CBC70EA30F5}" type="presOf" srcId="{51CC7D15-9E14-834F-954B-960D22CAC640}" destId="{07D36519-BD2C-8A41-9F88-CEDE0E723F2A}" srcOrd="0" destOrd="0" presId="urn:microsoft.com/office/officeart/2005/8/layout/hierarchy1"/>
    <dgm:cxn modelId="{8ED6CB28-2CBE-C848-A694-57A73C2A2AD3}" srcId="{D442C324-979C-3840-AA5A-AA0636E387F7}" destId="{A3841B15-433F-8844-B60C-6215250ECFB1}" srcOrd="1" destOrd="0" parTransId="{12D84148-2F79-B644-8F9E-8C923D4C7FA7}" sibTransId="{99E5E436-0A87-4E42-BA8A-286350606FB6}"/>
    <dgm:cxn modelId="{96172B90-29FC-F648-9FDE-AA1C85A4C87C}" srcId="{32346272-CBDB-5F4A-B4D5-DEFF0F8C4B27}" destId="{AF78F04D-240E-6D4F-9BFD-732F4074793E}" srcOrd="1" destOrd="0" parTransId="{C0340516-5A90-624B-BAEC-E4C7C26D6C22}" sibTransId="{0BFBF56B-AA23-DC4B-AFC4-44B640D4D14F}"/>
    <dgm:cxn modelId="{C64D47DE-89D6-B545-95DF-A03FF6A7E769}" type="presParOf" srcId="{041119CE-361E-6D4A-9899-F5AB6B6B890A}" destId="{731D8AB7-CF94-8041-8E47-BC61C5240D6A}" srcOrd="0" destOrd="0" presId="urn:microsoft.com/office/officeart/2005/8/layout/hierarchy1"/>
    <dgm:cxn modelId="{B282C847-5CF0-8A48-97E3-CFECBD9F9B4E}" type="presParOf" srcId="{731D8AB7-CF94-8041-8E47-BC61C5240D6A}" destId="{FA8D638D-511A-CB45-84D0-DC8F18D84E5B}" srcOrd="0" destOrd="0" presId="urn:microsoft.com/office/officeart/2005/8/layout/hierarchy1"/>
    <dgm:cxn modelId="{79A216D1-DC79-6D43-BD2D-30457E2AE810}" type="presParOf" srcId="{FA8D638D-511A-CB45-84D0-DC8F18D84E5B}" destId="{B583EF7D-CB8E-AF47-A04A-538F36D040F1}" srcOrd="0" destOrd="0" presId="urn:microsoft.com/office/officeart/2005/8/layout/hierarchy1"/>
    <dgm:cxn modelId="{78B0D826-5649-0F41-A760-81C69DADE795}" type="presParOf" srcId="{FA8D638D-511A-CB45-84D0-DC8F18D84E5B}" destId="{048F2AA8-3106-1549-A86D-816408887124}" srcOrd="1" destOrd="0" presId="urn:microsoft.com/office/officeart/2005/8/layout/hierarchy1"/>
    <dgm:cxn modelId="{190D1C7F-3211-8E4B-8B48-16E8CBA0D97A}" type="presParOf" srcId="{731D8AB7-CF94-8041-8E47-BC61C5240D6A}" destId="{1FDB5EB6-2165-EE42-8379-0CAB53CAA213}" srcOrd="1" destOrd="0" presId="urn:microsoft.com/office/officeart/2005/8/layout/hierarchy1"/>
    <dgm:cxn modelId="{640B896F-8193-6449-B1D8-EF0BDE7A5C4B}" type="presParOf" srcId="{1FDB5EB6-2165-EE42-8379-0CAB53CAA213}" destId="{1B1E2F4F-56DD-C349-8A5B-11E3EE359C78}" srcOrd="0" destOrd="0" presId="urn:microsoft.com/office/officeart/2005/8/layout/hierarchy1"/>
    <dgm:cxn modelId="{D03B8DC5-C14C-544F-A68F-C352CA931015}" type="presParOf" srcId="{1FDB5EB6-2165-EE42-8379-0CAB53CAA213}" destId="{6894B1BE-5092-4A4D-A5E9-6D9D72CD9729}" srcOrd="1" destOrd="0" presId="urn:microsoft.com/office/officeart/2005/8/layout/hierarchy1"/>
    <dgm:cxn modelId="{6B203D63-7980-684E-A95F-35DBE64CAA43}" type="presParOf" srcId="{6894B1BE-5092-4A4D-A5E9-6D9D72CD9729}" destId="{213D6DC0-EE14-4F46-B1C9-0780DFDCEB6B}" srcOrd="0" destOrd="0" presId="urn:microsoft.com/office/officeart/2005/8/layout/hierarchy1"/>
    <dgm:cxn modelId="{DDA9DFCD-4710-D246-840C-C760B8181EB0}" type="presParOf" srcId="{213D6DC0-EE14-4F46-B1C9-0780DFDCEB6B}" destId="{2D31CE3E-001E-F044-81B7-A349813E6423}" srcOrd="0" destOrd="0" presId="urn:microsoft.com/office/officeart/2005/8/layout/hierarchy1"/>
    <dgm:cxn modelId="{0B89FE01-B49E-E64B-BD00-332BEA01A53A}" type="presParOf" srcId="{213D6DC0-EE14-4F46-B1C9-0780DFDCEB6B}" destId="{B170A95A-B3C2-A143-BD7C-DB6F30C319BF}" srcOrd="1" destOrd="0" presId="urn:microsoft.com/office/officeart/2005/8/layout/hierarchy1"/>
    <dgm:cxn modelId="{8C54D85C-588E-8349-A9A1-E734F4850D42}" type="presParOf" srcId="{6894B1BE-5092-4A4D-A5E9-6D9D72CD9729}" destId="{97E0108C-19E1-034A-B01D-9710BAA20C14}" srcOrd="1" destOrd="0" presId="urn:microsoft.com/office/officeart/2005/8/layout/hierarchy1"/>
    <dgm:cxn modelId="{A6CF3E9F-7675-144A-9245-AA3AA5B9F932}" type="presParOf" srcId="{97E0108C-19E1-034A-B01D-9710BAA20C14}" destId="{8757CED1-F6CC-7A43-88EF-D40EB895CD32}" srcOrd="0" destOrd="0" presId="urn:microsoft.com/office/officeart/2005/8/layout/hierarchy1"/>
    <dgm:cxn modelId="{58B784F0-2652-5646-980D-3B48691F1494}" type="presParOf" srcId="{97E0108C-19E1-034A-B01D-9710BAA20C14}" destId="{72842BC6-BB19-0F4B-9F1E-28E11C9418A1}" srcOrd="1" destOrd="0" presId="urn:microsoft.com/office/officeart/2005/8/layout/hierarchy1"/>
    <dgm:cxn modelId="{A1F2FE5D-5E08-DD46-88CF-7F572686924E}" type="presParOf" srcId="{72842BC6-BB19-0F4B-9F1E-28E11C9418A1}" destId="{DCC9BD62-9E02-C74B-94F7-45D93B265E7C}" srcOrd="0" destOrd="0" presId="urn:microsoft.com/office/officeart/2005/8/layout/hierarchy1"/>
    <dgm:cxn modelId="{C173A763-B05C-A949-B627-0824DF3E25DC}" type="presParOf" srcId="{DCC9BD62-9E02-C74B-94F7-45D93B265E7C}" destId="{E7F73C9E-3874-2B41-8A1A-D32778D08E65}" srcOrd="0" destOrd="0" presId="urn:microsoft.com/office/officeart/2005/8/layout/hierarchy1"/>
    <dgm:cxn modelId="{2ABE735B-91ED-D244-A7C4-17C57BCE20BC}" type="presParOf" srcId="{DCC9BD62-9E02-C74B-94F7-45D93B265E7C}" destId="{9F5F831E-B5E7-1540-AC73-26C91ABB260F}" srcOrd="1" destOrd="0" presId="urn:microsoft.com/office/officeart/2005/8/layout/hierarchy1"/>
    <dgm:cxn modelId="{F2C68650-618E-9F4D-8A5E-FDC484AF31CB}" type="presParOf" srcId="{72842BC6-BB19-0F4B-9F1E-28E11C9418A1}" destId="{69AE84D9-F863-6944-8BB0-997DADB4B514}" srcOrd="1" destOrd="0" presId="urn:microsoft.com/office/officeart/2005/8/layout/hierarchy1"/>
    <dgm:cxn modelId="{AA9FE408-1319-B543-819A-AC87708C06A1}" type="presParOf" srcId="{69AE84D9-F863-6944-8BB0-997DADB4B514}" destId="{10C570C9-8ACD-FD40-85F9-8196E4B7D136}" srcOrd="0" destOrd="0" presId="urn:microsoft.com/office/officeart/2005/8/layout/hierarchy1"/>
    <dgm:cxn modelId="{6D2231D6-3159-5D42-B160-74B36679DF14}" type="presParOf" srcId="{69AE84D9-F863-6944-8BB0-997DADB4B514}" destId="{E9DAC401-397E-2343-A68C-DE0B78940BF2}" srcOrd="1" destOrd="0" presId="urn:microsoft.com/office/officeart/2005/8/layout/hierarchy1"/>
    <dgm:cxn modelId="{B464C543-7A73-8C45-86D6-2922610155F7}" type="presParOf" srcId="{E9DAC401-397E-2343-A68C-DE0B78940BF2}" destId="{E651F85D-1AFE-9A44-86D7-9DC8232E374A}" srcOrd="0" destOrd="0" presId="urn:microsoft.com/office/officeart/2005/8/layout/hierarchy1"/>
    <dgm:cxn modelId="{DC76586A-4FBA-B147-9959-FAF9E964BA95}" type="presParOf" srcId="{E651F85D-1AFE-9A44-86D7-9DC8232E374A}" destId="{9CB0F569-6859-C148-ACE2-C4CF1EA51EC2}" srcOrd="0" destOrd="0" presId="urn:microsoft.com/office/officeart/2005/8/layout/hierarchy1"/>
    <dgm:cxn modelId="{103F6881-04EF-9345-B797-2960DC1E2DD0}" type="presParOf" srcId="{E651F85D-1AFE-9A44-86D7-9DC8232E374A}" destId="{FD165631-DE07-8A4B-A42E-FC4AF22097E1}" srcOrd="1" destOrd="0" presId="urn:microsoft.com/office/officeart/2005/8/layout/hierarchy1"/>
    <dgm:cxn modelId="{D5947064-7DCA-C14B-8E06-238244700A48}" type="presParOf" srcId="{E9DAC401-397E-2343-A68C-DE0B78940BF2}" destId="{5813FD8F-90AE-2544-8072-46F0795F4BCC}" srcOrd="1" destOrd="0" presId="urn:microsoft.com/office/officeart/2005/8/layout/hierarchy1"/>
    <dgm:cxn modelId="{6B00C073-2D91-EB4C-8E03-BCC2B24F7C20}" type="presParOf" srcId="{5813FD8F-90AE-2544-8072-46F0795F4BCC}" destId="{2CD2BB25-82FE-0343-8126-F2533F318E2A}" srcOrd="0" destOrd="0" presId="urn:microsoft.com/office/officeart/2005/8/layout/hierarchy1"/>
    <dgm:cxn modelId="{3CB68878-4C0E-674E-951E-5D18D6675184}" type="presParOf" srcId="{5813FD8F-90AE-2544-8072-46F0795F4BCC}" destId="{21CFF11C-75BA-4445-8EB5-B589D1B4545A}" srcOrd="1" destOrd="0" presId="urn:microsoft.com/office/officeart/2005/8/layout/hierarchy1"/>
    <dgm:cxn modelId="{B06A4BC5-8B5D-8648-90D9-BFE9F63A385B}" type="presParOf" srcId="{21CFF11C-75BA-4445-8EB5-B589D1B4545A}" destId="{3A267C2A-9950-0F4E-8A94-A40F19800071}" srcOrd="0" destOrd="0" presId="urn:microsoft.com/office/officeart/2005/8/layout/hierarchy1"/>
    <dgm:cxn modelId="{7CFE2A34-C745-6545-8613-CEEF437B5DF4}" type="presParOf" srcId="{3A267C2A-9950-0F4E-8A94-A40F19800071}" destId="{BB622678-A6AE-9F45-AC6F-199CE2EF8B32}" srcOrd="0" destOrd="0" presId="urn:microsoft.com/office/officeart/2005/8/layout/hierarchy1"/>
    <dgm:cxn modelId="{B2D1D50C-52C4-DB44-9BB3-F8D8097E61AE}" type="presParOf" srcId="{3A267C2A-9950-0F4E-8A94-A40F19800071}" destId="{C93E5572-8301-2E45-90B4-2BEF3E8B20E5}" srcOrd="1" destOrd="0" presId="urn:microsoft.com/office/officeart/2005/8/layout/hierarchy1"/>
    <dgm:cxn modelId="{52D2DA0E-EBF2-3E4D-91BC-A40ABCCE2FFE}" type="presParOf" srcId="{21CFF11C-75BA-4445-8EB5-B589D1B4545A}" destId="{64337146-6479-4542-9BAA-350B4F84CBB8}" srcOrd="1" destOrd="0" presId="urn:microsoft.com/office/officeart/2005/8/layout/hierarchy1"/>
    <dgm:cxn modelId="{20D89120-BBF4-DB44-A235-392D6DC84683}" type="presParOf" srcId="{5813FD8F-90AE-2544-8072-46F0795F4BCC}" destId="{EDDED70B-DBE4-8A41-8326-FDC547C20B2B}" srcOrd="2" destOrd="0" presId="urn:microsoft.com/office/officeart/2005/8/layout/hierarchy1"/>
    <dgm:cxn modelId="{1B1AE9A1-D5F9-F947-954C-D69074B7F910}" type="presParOf" srcId="{5813FD8F-90AE-2544-8072-46F0795F4BCC}" destId="{45B101C0-925F-D945-97F3-4574DEFDEAA3}" srcOrd="3" destOrd="0" presId="urn:microsoft.com/office/officeart/2005/8/layout/hierarchy1"/>
    <dgm:cxn modelId="{211A6632-1759-C046-BC1C-D7EBD3687023}" type="presParOf" srcId="{45B101C0-925F-D945-97F3-4574DEFDEAA3}" destId="{3AF1B0D6-5845-744B-A207-6C82ABAEFAA5}" srcOrd="0" destOrd="0" presId="urn:microsoft.com/office/officeart/2005/8/layout/hierarchy1"/>
    <dgm:cxn modelId="{1C9327B4-530A-0C4E-83F0-1F745AED2DE5}" type="presParOf" srcId="{3AF1B0D6-5845-744B-A207-6C82ABAEFAA5}" destId="{30B81E03-BAF1-F64E-A8B2-89717A9A4551}" srcOrd="0" destOrd="0" presId="urn:microsoft.com/office/officeart/2005/8/layout/hierarchy1"/>
    <dgm:cxn modelId="{CB50B85C-88D3-F34C-A1D4-9A9931FFD42A}" type="presParOf" srcId="{3AF1B0D6-5845-744B-A207-6C82ABAEFAA5}" destId="{50165507-CC5B-7449-86A2-C8E800C3FC5E}" srcOrd="1" destOrd="0" presId="urn:microsoft.com/office/officeart/2005/8/layout/hierarchy1"/>
    <dgm:cxn modelId="{1D64BFC9-1CF0-2C4C-B637-B93A1A1EB31F}" type="presParOf" srcId="{45B101C0-925F-D945-97F3-4574DEFDEAA3}" destId="{62C73471-A846-B440-913E-7A37E3909B61}" srcOrd="1" destOrd="0" presId="urn:microsoft.com/office/officeart/2005/8/layout/hierarchy1"/>
    <dgm:cxn modelId="{F6B2FB20-8320-904E-8EC3-82A0BB08A375}" type="presParOf" srcId="{5813FD8F-90AE-2544-8072-46F0795F4BCC}" destId="{0F1CC619-AD04-A34C-AF51-5E656478B12B}" srcOrd="4" destOrd="0" presId="urn:microsoft.com/office/officeart/2005/8/layout/hierarchy1"/>
    <dgm:cxn modelId="{6835B44B-3A1F-EB4E-8D7C-3D4C47EDBFB2}" type="presParOf" srcId="{5813FD8F-90AE-2544-8072-46F0795F4BCC}" destId="{C0B46CB4-4AE0-FB43-95B2-5F069B2209D2}" srcOrd="5" destOrd="0" presId="urn:microsoft.com/office/officeart/2005/8/layout/hierarchy1"/>
    <dgm:cxn modelId="{A63B68B7-7111-E34F-BF73-5B0ED0CCCE6A}" type="presParOf" srcId="{C0B46CB4-4AE0-FB43-95B2-5F069B2209D2}" destId="{619DA9CF-6BD9-8F44-92FB-214260425A8F}" srcOrd="0" destOrd="0" presId="urn:microsoft.com/office/officeart/2005/8/layout/hierarchy1"/>
    <dgm:cxn modelId="{D255AB7E-EB64-9F45-81A0-77D13D5485A2}" type="presParOf" srcId="{619DA9CF-6BD9-8F44-92FB-214260425A8F}" destId="{EAF8BA79-38C0-014C-9ADA-B777B410E471}" srcOrd="0" destOrd="0" presId="urn:microsoft.com/office/officeart/2005/8/layout/hierarchy1"/>
    <dgm:cxn modelId="{688B40CE-8BD2-384B-981E-7F3D85A27881}" type="presParOf" srcId="{619DA9CF-6BD9-8F44-92FB-214260425A8F}" destId="{89C9FD81-6B92-7D44-84CE-0EEC3A025F36}" srcOrd="1" destOrd="0" presId="urn:microsoft.com/office/officeart/2005/8/layout/hierarchy1"/>
    <dgm:cxn modelId="{E7547480-5DE5-1D40-B6B2-E69756B5CD99}" type="presParOf" srcId="{C0B46CB4-4AE0-FB43-95B2-5F069B2209D2}" destId="{DD8B7E1D-D5C0-FD4B-8FE9-93C793EFD191}" srcOrd="1" destOrd="0" presId="urn:microsoft.com/office/officeart/2005/8/layout/hierarchy1"/>
    <dgm:cxn modelId="{68321BEC-F171-314E-BC63-575E17BFEB4C}" type="presParOf" srcId="{5813FD8F-90AE-2544-8072-46F0795F4BCC}" destId="{267CE148-E222-F24A-9DE9-377346E5E093}" srcOrd="6" destOrd="0" presId="urn:microsoft.com/office/officeart/2005/8/layout/hierarchy1"/>
    <dgm:cxn modelId="{BD9B4B73-0B2D-B445-937A-406720EF023A}" type="presParOf" srcId="{5813FD8F-90AE-2544-8072-46F0795F4BCC}" destId="{63D6314C-CF3F-9C4F-9559-8D8D06568199}" srcOrd="7" destOrd="0" presId="urn:microsoft.com/office/officeart/2005/8/layout/hierarchy1"/>
    <dgm:cxn modelId="{0AD1AE57-AD9D-4C4E-A9D9-BC61A6F0AC25}" type="presParOf" srcId="{63D6314C-CF3F-9C4F-9559-8D8D06568199}" destId="{65523EE1-7B80-3B46-B491-CC8C6B280872}" srcOrd="0" destOrd="0" presId="urn:microsoft.com/office/officeart/2005/8/layout/hierarchy1"/>
    <dgm:cxn modelId="{588B0E12-BD0F-5143-BB8B-4CAD2A444994}" type="presParOf" srcId="{65523EE1-7B80-3B46-B491-CC8C6B280872}" destId="{D52CB053-5CA7-4A47-8532-A3EF65EF32E1}" srcOrd="0" destOrd="0" presId="urn:microsoft.com/office/officeart/2005/8/layout/hierarchy1"/>
    <dgm:cxn modelId="{157D6E36-84A9-344F-89E4-63D464A866A0}" type="presParOf" srcId="{65523EE1-7B80-3B46-B491-CC8C6B280872}" destId="{03BDC2CF-8A5D-5E4C-9788-4AFCFDD52DD3}" srcOrd="1" destOrd="0" presId="urn:microsoft.com/office/officeart/2005/8/layout/hierarchy1"/>
    <dgm:cxn modelId="{C62EBDF9-F0B7-9D4B-BF3A-1649594275CC}" type="presParOf" srcId="{63D6314C-CF3F-9C4F-9559-8D8D06568199}" destId="{1F11D014-6056-FB41-9E7D-ADE3DE362E98}" srcOrd="1" destOrd="0" presId="urn:microsoft.com/office/officeart/2005/8/layout/hierarchy1"/>
    <dgm:cxn modelId="{2873AEBA-0E03-7645-9F28-56D82C8296CA}" type="presParOf" srcId="{69AE84D9-F863-6944-8BB0-997DADB4B514}" destId="{4D22C701-D4EA-6541-9C37-8381FFEAD667}" srcOrd="2" destOrd="0" presId="urn:microsoft.com/office/officeart/2005/8/layout/hierarchy1"/>
    <dgm:cxn modelId="{456F3871-35C4-8E4C-9DB4-69F2AC2C089C}" type="presParOf" srcId="{69AE84D9-F863-6944-8BB0-997DADB4B514}" destId="{1B857A19-5937-DA49-9402-F9A90666539D}" srcOrd="3" destOrd="0" presId="urn:microsoft.com/office/officeart/2005/8/layout/hierarchy1"/>
    <dgm:cxn modelId="{EE03D67E-73ED-C041-95D3-FDCA0EE412A7}" type="presParOf" srcId="{1B857A19-5937-DA49-9402-F9A90666539D}" destId="{518F486C-D559-E141-B7B6-75B2C7EE6410}" srcOrd="0" destOrd="0" presId="urn:microsoft.com/office/officeart/2005/8/layout/hierarchy1"/>
    <dgm:cxn modelId="{2B3F79DE-AC30-E44E-A577-206ACBC50386}" type="presParOf" srcId="{518F486C-D559-E141-B7B6-75B2C7EE6410}" destId="{FF21CB88-D888-B849-9C95-2BA5DECC579B}" srcOrd="0" destOrd="0" presId="urn:microsoft.com/office/officeart/2005/8/layout/hierarchy1"/>
    <dgm:cxn modelId="{D6BD6ED3-1B1B-704E-9E0D-12D414880657}" type="presParOf" srcId="{518F486C-D559-E141-B7B6-75B2C7EE6410}" destId="{2BF37921-DFCF-544B-AEBD-17B356FF1227}" srcOrd="1" destOrd="0" presId="urn:microsoft.com/office/officeart/2005/8/layout/hierarchy1"/>
    <dgm:cxn modelId="{CEB154D7-FFC2-D842-B55C-BA63F310FBE7}" type="presParOf" srcId="{1B857A19-5937-DA49-9402-F9A90666539D}" destId="{3F7F4EFD-973E-F747-9F7B-E9030A25A6B4}" srcOrd="1" destOrd="0" presId="urn:microsoft.com/office/officeart/2005/8/layout/hierarchy1"/>
    <dgm:cxn modelId="{717B25D1-6B52-7A4D-BC1D-515D314D4DD8}" type="presParOf" srcId="{3F7F4EFD-973E-F747-9F7B-E9030A25A6B4}" destId="{38FF51C3-4FAA-C944-9907-7C794D15F020}" srcOrd="0" destOrd="0" presId="urn:microsoft.com/office/officeart/2005/8/layout/hierarchy1"/>
    <dgm:cxn modelId="{0FDDABB6-1618-F049-A260-B4695A18726F}" type="presParOf" srcId="{3F7F4EFD-973E-F747-9F7B-E9030A25A6B4}" destId="{5D757DB3-0D3B-AB4E-809A-863A019C7CA2}" srcOrd="1" destOrd="0" presId="urn:microsoft.com/office/officeart/2005/8/layout/hierarchy1"/>
    <dgm:cxn modelId="{B98E63E9-A6B2-5D49-A74F-D5D02204B348}" type="presParOf" srcId="{5D757DB3-0D3B-AB4E-809A-863A019C7CA2}" destId="{20E6D7FC-16B4-694B-A278-E0F82FFE64A6}" srcOrd="0" destOrd="0" presId="urn:microsoft.com/office/officeart/2005/8/layout/hierarchy1"/>
    <dgm:cxn modelId="{AB92806C-80E1-134B-B8CE-86A2AFE64D7D}" type="presParOf" srcId="{20E6D7FC-16B4-694B-A278-E0F82FFE64A6}" destId="{25A88385-6150-894D-B312-990E8BB55A65}" srcOrd="0" destOrd="0" presId="urn:microsoft.com/office/officeart/2005/8/layout/hierarchy1"/>
    <dgm:cxn modelId="{372D52FD-F80B-684C-9B89-4FC42B99FAF3}" type="presParOf" srcId="{20E6D7FC-16B4-694B-A278-E0F82FFE64A6}" destId="{A12804F0-2DA6-E34A-A6D0-4548E269FDB0}" srcOrd="1" destOrd="0" presId="urn:microsoft.com/office/officeart/2005/8/layout/hierarchy1"/>
    <dgm:cxn modelId="{40A44D09-03A4-8F46-97B5-CC4479930316}" type="presParOf" srcId="{5D757DB3-0D3B-AB4E-809A-863A019C7CA2}" destId="{5B4271AD-270E-9046-BABA-B973A61C40AA}" srcOrd="1" destOrd="0" presId="urn:microsoft.com/office/officeart/2005/8/layout/hierarchy1"/>
    <dgm:cxn modelId="{0C78CCFA-E9A2-EF46-B893-A85365337B93}" type="presParOf" srcId="{3F7F4EFD-973E-F747-9F7B-E9030A25A6B4}" destId="{89047588-BF48-A74D-A6B6-F0866F82C690}" srcOrd="2" destOrd="0" presId="urn:microsoft.com/office/officeart/2005/8/layout/hierarchy1"/>
    <dgm:cxn modelId="{01B65994-9141-7F4F-AE69-EEB257CD372D}" type="presParOf" srcId="{3F7F4EFD-973E-F747-9F7B-E9030A25A6B4}" destId="{06D6E925-1FAB-A042-99F8-EC162AFED6F8}" srcOrd="3" destOrd="0" presId="urn:microsoft.com/office/officeart/2005/8/layout/hierarchy1"/>
    <dgm:cxn modelId="{77D0C4B3-EB56-5643-9CA6-9DAB0A007125}" type="presParOf" srcId="{06D6E925-1FAB-A042-99F8-EC162AFED6F8}" destId="{C470A9AC-C3BD-C246-8FB2-01FD0C891D07}" srcOrd="0" destOrd="0" presId="urn:microsoft.com/office/officeart/2005/8/layout/hierarchy1"/>
    <dgm:cxn modelId="{B4067C17-7B83-AF41-9B97-2B316994FB6E}" type="presParOf" srcId="{C470A9AC-C3BD-C246-8FB2-01FD0C891D07}" destId="{C536077C-9A53-DF4B-AD75-4A61FF3C30EC}" srcOrd="0" destOrd="0" presId="urn:microsoft.com/office/officeart/2005/8/layout/hierarchy1"/>
    <dgm:cxn modelId="{FF72A5B1-A638-B14E-ABB0-167A5C108E72}" type="presParOf" srcId="{C470A9AC-C3BD-C246-8FB2-01FD0C891D07}" destId="{8866EF12-8DD5-C74A-99D0-353E183E8C46}" srcOrd="1" destOrd="0" presId="urn:microsoft.com/office/officeart/2005/8/layout/hierarchy1"/>
    <dgm:cxn modelId="{37BA8061-EFCE-C84A-838C-16C380DC11A5}" type="presParOf" srcId="{06D6E925-1FAB-A042-99F8-EC162AFED6F8}" destId="{E8BA6B2A-18F8-DD43-B4F3-ADD976F87367}" srcOrd="1" destOrd="0" presId="urn:microsoft.com/office/officeart/2005/8/layout/hierarchy1"/>
    <dgm:cxn modelId="{94E7E7F9-8BCF-F14B-9B73-60F914E7CF72}" type="presParOf" srcId="{3F7F4EFD-973E-F747-9F7B-E9030A25A6B4}" destId="{A188263D-53C1-8A4E-BDCE-77BD616F55DC}" srcOrd="4" destOrd="0" presId="urn:microsoft.com/office/officeart/2005/8/layout/hierarchy1"/>
    <dgm:cxn modelId="{B298D041-689C-AB40-A883-EC3531CCD236}" type="presParOf" srcId="{3F7F4EFD-973E-F747-9F7B-E9030A25A6B4}" destId="{594E756E-DFA3-3E49-B7D2-4663DD843940}" srcOrd="5" destOrd="0" presId="urn:microsoft.com/office/officeart/2005/8/layout/hierarchy1"/>
    <dgm:cxn modelId="{4038E921-E7FE-5243-8113-31716E59C3E2}" type="presParOf" srcId="{594E756E-DFA3-3E49-B7D2-4663DD843940}" destId="{39554AAB-6398-9A44-974C-D448B67FAB7F}" srcOrd="0" destOrd="0" presId="urn:microsoft.com/office/officeart/2005/8/layout/hierarchy1"/>
    <dgm:cxn modelId="{FED883D1-D7AD-A847-A612-35C13CE8A6AC}" type="presParOf" srcId="{39554AAB-6398-9A44-974C-D448B67FAB7F}" destId="{12874842-A5AB-0C4F-AD8F-A89111030789}" srcOrd="0" destOrd="0" presId="urn:microsoft.com/office/officeart/2005/8/layout/hierarchy1"/>
    <dgm:cxn modelId="{1C9578E2-92A5-8D40-9E97-2AA132E72267}" type="presParOf" srcId="{39554AAB-6398-9A44-974C-D448B67FAB7F}" destId="{ECE3DBC5-BF77-F44F-A62D-10A3CBF613EF}" srcOrd="1" destOrd="0" presId="urn:microsoft.com/office/officeart/2005/8/layout/hierarchy1"/>
    <dgm:cxn modelId="{F28E06D5-FD34-6042-B332-8B3DF6797A21}" type="presParOf" srcId="{594E756E-DFA3-3E49-B7D2-4663DD843940}" destId="{BE4A7249-DDFB-9D4E-BF15-7029205A12A1}" srcOrd="1" destOrd="0" presId="urn:microsoft.com/office/officeart/2005/8/layout/hierarchy1"/>
    <dgm:cxn modelId="{E2AFCB25-3ADB-A94A-AEF3-5FEF729102C4}" type="presParOf" srcId="{3F7F4EFD-973E-F747-9F7B-E9030A25A6B4}" destId="{015CA630-71EE-994E-BDF9-B4E5D34D9F42}" srcOrd="6" destOrd="0" presId="urn:microsoft.com/office/officeart/2005/8/layout/hierarchy1"/>
    <dgm:cxn modelId="{8F65099D-369D-1448-8A53-D48F965467FF}" type="presParOf" srcId="{3F7F4EFD-973E-F747-9F7B-E9030A25A6B4}" destId="{DC6812B0-9589-AD40-A338-2557CACDFCDC}" srcOrd="7" destOrd="0" presId="urn:microsoft.com/office/officeart/2005/8/layout/hierarchy1"/>
    <dgm:cxn modelId="{61B55E36-8214-B64B-9749-31B297160BD5}" type="presParOf" srcId="{DC6812B0-9589-AD40-A338-2557CACDFCDC}" destId="{94A7165B-98AF-8543-8EC9-BA1DE647F584}" srcOrd="0" destOrd="0" presId="urn:microsoft.com/office/officeart/2005/8/layout/hierarchy1"/>
    <dgm:cxn modelId="{8FB5229F-2306-9549-B016-50D88B0B70C7}" type="presParOf" srcId="{94A7165B-98AF-8543-8EC9-BA1DE647F584}" destId="{68DC7AB9-BB0B-FF49-B3C1-045799B161F3}" srcOrd="0" destOrd="0" presId="urn:microsoft.com/office/officeart/2005/8/layout/hierarchy1"/>
    <dgm:cxn modelId="{AC4C6982-639C-C949-9AFC-6EE0FC1B105B}" type="presParOf" srcId="{94A7165B-98AF-8543-8EC9-BA1DE647F584}" destId="{CA157E24-A511-0043-8F75-04AB9C1BD51A}" srcOrd="1" destOrd="0" presId="urn:microsoft.com/office/officeart/2005/8/layout/hierarchy1"/>
    <dgm:cxn modelId="{5E14C53F-B353-984C-9339-72DD8D913EBC}" type="presParOf" srcId="{DC6812B0-9589-AD40-A338-2557CACDFCDC}" destId="{4B10EBC5-E24F-5143-A9EE-FCF1180CD1D3}" srcOrd="1" destOrd="0" presId="urn:microsoft.com/office/officeart/2005/8/layout/hierarchy1"/>
    <dgm:cxn modelId="{AA9987A4-F9EF-0E4D-AA66-C71F16C4A941}" type="presParOf" srcId="{97E0108C-19E1-034A-B01D-9710BAA20C14}" destId="{B561EAB9-9C90-814A-B65E-A9C9AAD599AD}" srcOrd="2" destOrd="0" presId="urn:microsoft.com/office/officeart/2005/8/layout/hierarchy1"/>
    <dgm:cxn modelId="{421F7A98-A434-A44A-AA58-143F0B07ACFB}" type="presParOf" srcId="{97E0108C-19E1-034A-B01D-9710BAA20C14}" destId="{D9C812F6-973C-B34E-B2DC-2DED537556E6}" srcOrd="3" destOrd="0" presId="urn:microsoft.com/office/officeart/2005/8/layout/hierarchy1"/>
    <dgm:cxn modelId="{FAFFFB3A-0189-0E49-B5F8-4E2A30026972}" type="presParOf" srcId="{D9C812F6-973C-B34E-B2DC-2DED537556E6}" destId="{DF8E1BFD-42D7-404C-9F6C-C117DBDD0355}" srcOrd="0" destOrd="0" presId="urn:microsoft.com/office/officeart/2005/8/layout/hierarchy1"/>
    <dgm:cxn modelId="{D9C11A99-0B69-E64E-889A-A9253E12D381}" type="presParOf" srcId="{DF8E1BFD-42D7-404C-9F6C-C117DBDD0355}" destId="{C165AA30-608C-3648-9ECE-35B717E6BFAB}" srcOrd="0" destOrd="0" presId="urn:microsoft.com/office/officeart/2005/8/layout/hierarchy1"/>
    <dgm:cxn modelId="{B732FB84-E0F8-5F45-A164-53B60DC16506}" type="presParOf" srcId="{DF8E1BFD-42D7-404C-9F6C-C117DBDD0355}" destId="{CA4F720E-F48D-3749-9283-86683DE1ED80}" srcOrd="1" destOrd="0" presId="urn:microsoft.com/office/officeart/2005/8/layout/hierarchy1"/>
    <dgm:cxn modelId="{6641BBF9-742B-9F46-85B9-7741F1037736}" type="presParOf" srcId="{D9C812F6-973C-B34E-B2DC-2DED537556E6}" destId="{3EBADE22-3D93-E94E-A613-1D9DD569435C}" srcOrd="1" destOrd="0" presId="urn:microsoft.com/office/officeart/2005/8/layout/hierarchy1"/>
    <dgm:cxn modelId="{E73879FE-971E-E14E-9FD7-B1E83C510411}" type="presParOf" srcId="{3EBADE22-3D93-E94E-A613-1D9DD569435C}" destId="{C45442A0-B0E4-504D-8187-E1C01B448AC8}" srcOrd="0" destOrd="0" presId="urn:microsoft.com/office/officeart/2005/8/layout/hierarchy1"/>
    <dgm:cxn modelId="{157CE46D-76DC-E946-8B97-7A3E6E840B64}" type="presParOf" srcId="{3EBADE22-3D93-E94E-A613-1D9DD569435C}" destId="{63F48039-0BF6-1B45-88B9-5B3678928602}" srcOrd="1" destOrd="0" presId="urn:microsoft.com/office/officeart/2005/8/layout/hierarchy1"/>
    <dgm:cxn modelId="{91DA2F77-39A9-BE40-873A-A1FC197DCFEC}" type="presParOf" srcId="{63F48039-0BF6-1B45-88B9-5B3678928602}" destId="{8CAA1458-1E1B-B74F-9555-BDCA7931A030}" srcOrd="0" destOrd="0" presId="urn:microsoft.com/office/officeart/2005/8/layout/hierarchy1"/>
    <dgm:cxn modelId="{AB10C970-BFDA-F84F-B622-E2EB20029A7D}" type="presParOf" srcId="{8CAA1458-1E1B-B74F-9555-BDCA7931A030}" destId="{4A6556C4-34E6-1A4B-A7B0-AD5D7D8D927D}" srcOrd="0" destOrd="0" presId="urn:microsoft.com/office/officeart/2005/8/layout/hierarchy1"/>
    <dgm:cxn modelId="{B02672F7-29CE-4446-AD91-49DC8D6D5959}" type="presParOf" srcId="{8CAA1458-1E1B-B74F-9555-BDCA7931A030}" destId="{545DFBC1-1B7B-3041-A4D6-A93259FC61EA}" srcOrd="1" destOrd="0" presId="urn:microsoft.com/office/officeart/2005/8/layout/hierarchy1"/>
    <dgm:cxn modelId="{59ADAEA5-E2C4-AF49-AE90-C97D37675F6B}" type="presParOf" srcId="{63F48039-0BF6-1B45-88B9-5B3678928602}" destId="{B8102C07-3748-FC4D-B56D-C4157AC8C5D3}" srcOrd="1" destOrd="0" presId="urn:microsoft.com/office/officeart/2005/8/layout/hierarchy1"/>
    <dgm:cxn modelId="{8E35013E-66F1-2C4B-B442-EC32B8F81CB9}" type="presParOf" srcId="{3EBADE22-3D93-E94E-A613-1D9DD569435C}" destId="{A5F9AC86-AECD-F54F-A9C2-FEB40BA7723B}" srcOrd="2" destOrd="0" presId="urn:microsoft.com/office/officeart/2005/8/layout/hierarchy1"/>
    <dgm:cxn modelId="{64D39719-2967-0F4B-A1E8-E16CDE104202}" type="presParOf" srcId="{3EBADE22-3D93-E94E-A613-1D9DD569435C}" destId="{E259405B-DC78-6C40-842E-B6161A466F33}" srcOrd="3" destOrd="0" presId="urn:microsoft.com/office/officeart/2005/8/layout/hierarchy1"/>
    <dgm:cxn modelId="{BA7FC9E8-A691-D34C-915A-1B787A92E9FF}" type="presParOf" srcId="{E259405B-DC78-6C40-842E-B6161A466F33}" destId="{C3548222-CD2D-4A42-A8FB-049787523D9B}" srcOrd="0" destOrd="0" presId="urn:microsoft.com/office/officeart/2005/8/layout/hierarchy1"/>
    <dgm:cxn modelId="{0F0F8EB6-F3D9-0441-86BA-C92742C6D185}" type="presParOf" srcId="{C3548222-CD2D-4A42-A8FB-049787523D9B}" destId="{D9B19596-50BE-DD4B-BAB6-7874C205E339}" srcOrd="0" destOrd="0" presId="urn:microsoft.com/office/officeart/2005/8/layout/hierarchy1"/>
    <dgm:cxn modelId="{FD5EC5BC-7610-0F4D-85C0-D854955579F2}" type="presParOf" srcId="{C3548222-CD2D-4A42-A8FB-049787523D9B}" destId="{278225A1-DE14-A441-972A-42C3E480B430}" srcOrd="1" destOrd="0" presId="urn:microsoft.com/office/officeart/2005/8/layout/hierarchy1"/>
    <dgm:cxn modelId="{1725EF16-9D10-424E-AF9F-5DD93E76296E}" type="presParOf" srcId="{E259405B-DC78-6C40-842E-B6161A466F33}" destId="{ACD3F9E0-A08A-7A40-A346-E1A5502CBEC8}" srcOrd="1" destOrd="0" presId="urn:microsoft.com/office/officeart/2005/8/layout/hierarchy1"/>
    <dgm:cxn modelId="{9A55EE4F-6A60-F943-962C-483B1ECE577D}" type="presParOf" srcId="{3EBADE22-3D93-E94E-A613-1D9DD569435C}" destId="{80C32E74-2028-5A45-B638-2DE55690566F}" srcOrd="4" destOrd="0" presId="urn:microsoft.com/office/officeart/2005/8/layout/hierarchy1"/>
    <dgm:cxn modelId="{07179891-9D13-E24B-925E-29FB1661D17E}" type="presParOf" srcId="{3EBADE22-3D93-E94E-A613-1D9DD569435C}" destId="{58B5DA1C-657C-0649-967A-AC5EBC3B6C87}" srcOrd="5" destOrd="0" presId="urn:microsoft.com/office/officeart/2005/8/layout/hierarchy1"/>
    <dgm:cxn modelId="{81AE2B39-3A58-8A4D-8371-79E3DE7720D5}" type="presParOf" srcId="{58B5DA1C-657C-0649-967A-AC5EBC3B6C87}" destId="{6BD2A850-378B-9745-8230-7E67C6B1D10F}" srcOrd="0" destOrd="0" presId="urn:microsoft.com/office/officeart/2005/8/layout/hierarchy1"/>
    <dgm:cxn modelId="{0A2E9535-E235-C045-B6B2-613DEA4DB640}" type="presParOf" srcId="{6BD2A850-378B-9745-8230-7E67C6B1D10F}" destId="{EBE94D10-CB91-7247-A338-137ED37AD7BB}" srcOrd="0" destOrd="0" presId="urn:microsoft.com/office/officeart/2005/8/layout/hierarchy1"/>
    <dgm:cxn modelId="{A2E8195C-722D-AD4E-BE2A-73C5EE70CC8F}" type="presParOf" srcId="{6BD2A850-378B-9745-8230-7E67C6B1D10F}" destId="{E507C385-AB6A-9546-B456-C49DBAA17A09}" srcOrd="1" destOrd="0" presId="urn:microsoft.com/office/officeart/2005/8/layout/hierarchy1"/>
    <dgm:cxn modelId="{2D1925BE-DEDA-E746-94C4-F28040ECB6E4}" type="presParOf" srcId="{58B5DA1C-657C-0649-967A-AC5EBC3B6C87}" destId="{C730DC23-2ACB-1747-A6C5-FA72AC17B81D}" srcOrd="1" destOrd="0" presId="urn:microsoft.com/office/officeart/2005/8/layout/hierarchy1"/>
    <dgm:cxn modelId="{4DFBEF70-845D-1E45-AD91-842F550203F4}" type="presParOf" srcId="{1FDB5EB6-2165-EE42-8379-0CAB53CAA213}" destId="{1A996277-C9DB-1A49-9160-C400C5DD19DF}" srcOrd="2" destOrd="0" presId="urn:microsoft.com/office/officeart/2005/8/layout/hierarchy1"/>
    <dgm:cxn modelId="{D24F4F2B-9872-414A-874F-B48C088A980C}" type="presParOf" srcId="{1FDB5EB6-2165-EE42-8379-0CAB53CAA213}" destId="{28B0FC61-0FA3-AA44-B7DC-4370AF40B7D2}" srcOrd="3" destOrd="0" presId="urn:microsoft.com/office/officeart/2005/8/layout/hierarchy1"/>
    <dgm:cxn modelId="{DFF74EA1-3F4A-3145-AEC8-2EC94DED8A07}" type="presParOf" srcId="{28B0FC61-0FA3-AA44-B7DC-4370AF40B7D2}" destId="{09FEA531-FF7C-1245-895F-7C44EE81E779}" srcOrd="0" destOrd="0" presId="urn:microsoft.com/office/officeart/2005/8/layout/hierarchy1"/>
    <dgm:cxn modelId="{F9696DE0-870A-4641-A6E2-126C8DD660B4}" type="presParOf" srcId="{09FEA531-FF7C-1245-895F-7C44EE81E779}" destId="{237B0FDC-A266-9847-8F77-63CAAF503F44}" srcOrd="0" destOrd="0" presId="urn:microsoft.com/office/officeart/2005/8/layout/hierarchy1"/>
    <dgm:cxn modelId="{15194EF6-01ED-0B45-B345-31D710F11FAC}" type="presParOf" srcId="{09FEA531-FF7C-1245-895F-7C44EE81E779}" destId="{13068196-C853-604C-8748-B282436CD6ED}" srcOrd="1" destOrd="0" presId="urn:microsoft.com/office/officeart/2005/8/layout/hierarchy1"/>
    <dgm:cxn modelId="{EF9E4EAB-97D9-5F43-A435-750473387CE7}" type="presParOf" srcId="{28B0FC61-0FA3-AA44-B7DC-4370AF40B7D2}" destId="{49AAFECE-C8E6-AC47-A4A6-E3BCC42AE4A7}" srcOrd="1" destOrd="0" presId="urn:microsoft.com/office/officeart/2005/8/layout/hierarchy1"/>
    <dgm:cxn modelId="{5E3FE6EE-5E70-E543-8949-66A6CF8E8B16}" type="presParOf" srcId="{49AAFECE-C8E6-AC47-A4A6-E3BCC42AE4A7}" destId="{3A5658C4-FA78-F740-BBDD-C38C285609DF}" srcOrd="0" destOrd="0" presId="urn:microsoft.com/office/officeart/2005/8/layout/hierarchy1"/>
    <dgm:cxn modelId="{0460AA52-D72D-CD44-A393-C512774E0B44}" type="presParOf" srcId="{49AAFECE-C8E6-AC47-A4A6-E3BCC42AE4A7}" destId="{AA3F1489-5E75-F548-9132-72A662421605}" srcOrd="1" destOrd="0" presId="urn:microsoft.com/office/officeart/2005/8/layout/hierarchy1"/>
    <dgm:cxn modelId="{8AC26F61-363D-124F-81D4-567EFD83319F}" type="presParOf" srcId="{AA3F1489-5E75-F548-9132-72A662421605}" destId="{75F02837-AC3C-3744-A306-041F2FB2F850}" srcOrd="0" destOrd="0" presId="urn:microsoft.com/office/officeart/2005/8/layout/hierarchy1"/>
    <dgm:cxn modelId="{7A4DA584-DCC2-1F45-B7A1-F74F51153653}" type="presParOf" srcId="{75F02837-AC3C-3744-A306-041F2FB2F850}" destId="{9A1BC53F-FEAB-4F46-9C18-3EBE0F699165}" srcOrd="0" destOrd="0" presId="urn:microsoft.com/office/officeart/2005/8/layout/hierarchy1"/>
    <dgm:cxn modelId="{BC7ACDAD-2B00-4144-979A-ADD6E0704A12}" type="presParOf" srcId="{75F02837-AC3C-3744-A306-041F2FB2F850}" destId="{3E3529BF-94B9-2341-A86A-4227C469F8D0}" srcOrd="1" destOrd="0" presId="urn:microsoft.com/office/officeart/2005/8/layout/hierarchy1"/>
    <dgm:cxn modelId="{AEC4BD42-8E51-D446-8501-2ED9287756B1}" type="presParOf" srcId="{AA3F1489-5E75-F548-9132-72A662421605}" destId="{788E1057-D0C6-984B-AC6D-4E3EEF944C0C}" srcOrd="1" destOrd="0" presId="urn:microsoft.com/office/officeart/2005/8/layout/hierarchy1"/>
    <dgm:cxn modelId="{9B9E77F0-9B8F-7742-86C4-155131ED959F}" type="presParOf" srcId="{49AAFECE-C8E6-AC47-A4A6-E3BCC42AE4A7}" destId="{91C900C9-348A-3E45-87ED-456D30D10D7D}" srcOrd="2" destOrd="0" presId="urn:microsoft.com/office/officeart/2005/8/layout/hierarchy1"/>
    <dgm:cxn modelId="{9C21DE3E-8AD0-9A43-A695-0275A2D5938F}" type="presParOf" srcId="{49AAFECE-C8E6-AC47-A4A6-E3BCC42AE4A7}" destId="{1AD9EDF0-1E5D-B34A-96E9-C904299F0841}" srcOrd="3" destOrd="0" presId="urn:microsoft.com/office/officeart/2005/8/layout/hierarchy1"/>
    <dgm:cxn modelId="{873672F8-52AB-734B-9B2D-0C021DAB7967}" type="presParOf" srcId="{1AD9EDF0-1E5D-B34A-96E9-C904299F0841}" destId="{14A77682-D9C0-7E4F-B350-8BF0103A80D8}" srcOrd="0" destOrd="0" presId="urn:microsoft.com/office/officeart/2005/8/layout/hierarchy1"/>
    <dgm:cxn modelId="{7BE0BC1D-9665-DB48-9790-DA4973A3CB6F}" type="presParOf" srcId="{14A77682-D9C0-7E4F-B350-8BF0103A80D8}" destId="{60F58D28-A0CA-1F45-B852-6B248FF21123}" srcOrd="0" destOrd="0" presId="urn:microsoft.com/office/officeart/2005/8/layout/hierarchy1"/>
    <dgm:cxn modelId="{48D94C7B-0BDC-9D4F-98B0-3FDEDC783EA2}" type="presParOf" srcId="{14A77682-D9C0-7E4F-B350-8BF0103A80D8}" destId="{8CDB4A07-2D03-834A-AFB0-4E8D10C51554}" srcOrd="1" destOrd="0" presId="urn:microsoft.com/office/officeart/2005/8/layout/hierarchy1"/>
    <dgm:cxn modelId="{E89D7712-D173-E444-AC8C-3E9EECC4B416}" type="presParOf" srcId="{1AD9EDF0-1E5D-B34A-96E9-C904299F0841}" destId="{F7DF1254-EBF6-984B-AF3A-C29B70B16F71}" srcOrd="1" destOrd="0" presId="urn:microsoft.com/office/officeart/2005/8/layout/hierarchy1"/>
    <dgm:cxn modelId="{1B530E75-3C9A-D547-A412-208D49FE4A97}" type="presParOf" srcId="{F7DF1254-EBF6-984B-AF3A-C29B70B16F71}" destId="{7C861E8B-1F8D-B142-9DE6-CC9C61B2BF95}" srcOrd="0" destOrd="0" presId="urn:microsoft.com/office/officeart/2005/8/layout/hierarchy1"/>
    <dgm:cxn modelId="{BC295441-A6CE-8249-89AF-2B2B9EFF13A6}" type="presParOf" srcId="{F7DF1254-EBF6-984B-AF3A-C29B70B16F71}" destId="{6C86D512-6691-F948-BBA0-715FF3E2F5B8}" srcOrd="1" destOrd="0" presId="urn:microsoft.com/office/officeart/2005/8/layout/hierarchy1"/>
    <dgm:cxn modelId="{7ACF127F-9A50-CD4E-B191-6D92C259F142}" type="presParOf" srcId="{6C86D512-6691-F948-BBA0-715FF3E2F5B8}" destId="{98352DBF-6229-DE48-8C71-D1FDD948E9C9}" srcOrd="0" destOrd="0" presId="urn:microsoft.com/office/officeart/2005/8/layout/hierarchy1"/>
    <dgm:cxn modelId="{AD10A2E4-AC71-B747-B916-FB755D840F01}" type="presParOf" srcId="{98352DBF-6229-DE48-8C71-D1FDD948E9C9}" destId="{8C93DED1-2DDB-D54B-AFC1-3A9E4BAD23B5}" srcOrd="0" destOrd="0" presId="urn:microsoft.com/office/officeart/2005/8/layout/hierarchy1"/>
    <dgm:cxn modelId="{4C2FDCAE-F9C5-F14B-B69D-927EA07554F0}" type="presParOf" srcId="{98352DBF-6229-DE48-8C71-D1FDD948E9C9}" destId="{05824DED-BB50-1040-BEA7-6416C67E57A1}" srcOrd="1" destOrd="0" presId="urn:microsoft.com/office/officeart/2005/8/layout/hierarchy1"/>
    <dgm:cxn modelId="{09645B32-F205-FA42-B17A-2D5F019D8640}" type="presParOf" srcId="{6C86D512-6691-F948-BBA0-715FF3E2F5B8}" destId="{71CCD57B-236D-E042-993E-DFD65D3B67E7}" srcOrd="1" destOrd="0" presId="urn:microsoft.com/office/officeart/2005/8/layout/hierarchy1"/>
    <dgm:cxn modelId="{38E44F58-E7E5-C047-BEFC-281E83524D4F}" type="presParOf" srcId="{F7DF1254-EBF6-984B-AF3A-C29B70B16F71}" destId="{E2BD35FA-F3FE-8846-8FBC-0284DCAB08FA}" srcOrd="2" destOrd="0" presId="urn:microsoft.com/office/officeart/2005/8/layout/hierarchy1"/>
    <dgm:cxn modelId="{4ADACE16-2541-B546-BD2E-749808B250C2}" type="presParOf" srcId="{F7DF1254-EBF6-984B-AF3A-C29B70B16F71}" destId="{929B1D9E-6746-D142-9329-8119DC11B04B}" srcOrd="3" destOrd="0" presId="urn:microsoft.com/office/officeart/2005/8/layout/hierarchy1"/>
    <dgm:cxn modelId="{E4605473-4B75-0740-8415-0E6179E331B8}" type="presParOf" srcId="{929B1D9E-6746-D142-9329-8119DC11B04B}" destId="{F0627EC3-663F-6447-B440-F44DA7442C45}" srcOrd="0" destOrd="0" presId="urn:microsoft.com/office/officeart/2005/8/layout/hierarchy1"/>
    <dgm:cxn modelId="{439B5A89-21CA-6546-94CB-0E413BC77650}" type="presParOf" srcId="{F0627EC3-663F-6447-B440-F44DA7442C45}" destId="{BD5D801E-16A9-904F-8A69-472076AD3213}" srcOrd="0" destOrd="0" presId="urn:microsoft.com/office/officeart/2005/8/layout/hierarchy1"/>
    <dgm:cxn modelId="{FB649548-08F6-DE40-8E6C-1E7FE3C22ADF}" type="presParOf" srcId="{F0627EC3-663F-6447-B440-F44DA7442C45}" destId="{F3BF705A-AB7E-434D-BB23-03FBA04B5064}" srcOrd="1" destOrd="0" presId="urn:microsoft.com/office/officeart/2005/8/layout/hierarchy1"/>
    <dgm:cxn modelId="{A1B13841-859D-F24B-8DF9-23BD690EF6A3}" type="presParOf" srcId="{929B1D9E-6746-D142-9329-8119DC11B04B}" destId="{179546A2-1CEA-EE4F-8520-8F371EEADD63}" srcOrd="1" destOrd="0" presId="urn:microsoft.com/office/officeart/2005/8/layout/hierarchy1"/>
    <dgm:cxn modelId="{2D376040-E241-9D4A-8E24-EA0065EB64E5}" type="presParOf" srcId="{F7DF1254-EBF6-984B-AF3A-C29B70B16F71}" destId="{3DC2442D-297D-B343-883C-653E5296DA9D}" srcOrd="4" destOrd="0" presId="urn:microsoft.com/office/officeart/2005/8/layout/hierarchy1"/>
    <dgm:cxn modelId="{71F0975F-B7F2-D74D-9EDB-04AA67D2F525}" type="presParOf" srcId="{F7DF1254-EBF6-984B-AF3A-C29B70B16F71}" destId="{2883B39B-705E-5F49-A2A9-8E7161ACA16A}" srcOrd="5" destOrd="0" presId="urn:microsoft.com/office/officeart/2005/8/layout/hierarchy1"/>
    <dgm:cxn modelId="{4B7DF6F7-43D5-D849-95CD-45E476323D57}" type="presParOf" srcId="{2883B39B-705E-5F49-A2A9-8E7161ACA16A}" destId="{306256F5-E4A2-4E48-ABDA-DDF95B2701BE}" srcOrd="0" destOrd="0" presId="urn:microsoft.com/office/officeart/2005/8/layout/hierarchy1"/>
    <dgm:cxn modelId="{48DF6403-09EE-4949-B8CD-41ABB04D992D}" type="presParOf" srcId="{306256F5-E4A2-4E48-ABDA-DDF95B2701BE}" destId="{31B753A5-5FC4-5A4F-ADE6-2368F5910A42}" srcOrd="0" destOrd="0" presId="urn:microsoft.com/office/officeart/2005/8/layout/hierarchy1"/>
    <dgm:cxn modelId="{C58ED124-DF00-684B-831C-57BF5BAA7BFF}" type="presParOf" srcId="{306256F5-E4A2-4E48-ABDA-DDF95B2701BE}" destId="{A069CEA2-26F1-7D42-8C3B-FE448AB69D67}" srcOrd="1" destOrd="0" presId="urn:microsoft.com/office/officeart/2005/8/layout/hierarchy1"/>
    <dgm:cxn modelId="{9CDBD083-1EF6-7240-8C5F-C3AFE7D55D39}" type="presParOf" srcId="{2883B39B-705E-5F49-A2A9-8E7161ACA16A}" destId="{A30E3AFF-6828-0349-B183-AD5D3F1FA61C}" srcOrd="1" destOrd="0" presId="urn:microsoft.com/office/officeart/2005/8/layout/hierarchy1"/>
    <dgm:cxn modelId="{942E1F06-42E9-634B-A508-2CE824894282}" type="presParOf" srcId="{F7DF1254-EBF6-984B-AF3A-C29B70B16F71}" destId="{64F93824-4A34-3240-9D90-E8910E73B756}" srcOrd="6" destOrd="0" presId="urn:microsoft.com/office/officeart/2005/8/layout/hierarchy1"/>
    <dgm:cxn modelId="{7C28A158-4D57-0745-B747-FDFED7A380F9}" type="presParOf" srcId="{F7DF1254-EBF6-984B-AF3A-C29B70B16F71}" destId="{825DD0D4-BA2C-A643-91CA-54ADFF81CCB1}" srcOrd="7" destOrd="0" presId="urn:microsoft.com/office/officeart/2005/8/layout/hierarchy1"/>
    <dgm:cxn modelId="{8B2D6D3C-5D61-224E-BB8E-8F26030F5D76}" type="presParOf" srcId="{825DD0D4-BA2C-A643-91CA-54ADFF81CCB1}" destId="{F2579C97-9496-6741-9658-658733E64CF1}" srcOrd="0" destOrd="0" presId="urn:microsoft.com/office/officeart/2005/8/layout/hierarchy1"/>
    <dgm:cxn modelId="{E33A3596-F1D0-7E4C-86F0-80960A6FC209}" type="presParOf" srcId="{F2579C97-9496-6741-9658-658733E64CF1}" destId="{7C909D4A-ECF3-434D-B2C4-E66F20ED841E}" srcOrd="0" destOrd="0" presId="urn:microsoft.com/office/officeart/2005/8/layout/hierarchy1"/>
    <dgm:cxn modelId="{08969BC0-DB4D-B349-A00E-0B339898E11A}" type="presParOf" srcId="{F2579C97-9496-6741-9658-658733E64CF1}" destId="{07D36519-BD2C-8A41-9F88-CEDE0E723F2A}" srcOrd="1" destOrd="0" presId="urn:microsoft.com/office/officeart/2005/8/layout/hierarchy1"/>
    <dgm:cxn modelId="{7CA25F45-3B37-0F4D-9E2C-7EA18B627C16}" type="presParOf" srcId="{825DD0D4-BA2C-A643-91CA-54ADFF81CCB1}" destId="{E4C6C3F3-EEA7-E241-992D-C2DBB156A655}" srcOrd="1" destOrd="0" presId="urn:microsoft.com/office/officeart/2005/8/layout/hierarchy1"/>
    <dgm:cxn modelId="{04D3419C-E28D-5548-8E23-72A6C5EDB62E}" type="presParOf" srcId="{F7DF1254-EBF6-984B-AF3A-C29B70B16F71}" destId="{BCD1C62B-21C5-0D4C-A076-6947D355084D}" srcOrd="8" destOrd="0" presId="urn:microsoft.com/office/officeart/2005/8/layout/hierarchy1"/>
    <dgm:cxn modelId="{606C9BB5-75B5-EA45-ACB4-189ED49D0FA8}" type="presParOf" srcId="{F7DF1254-EBF6-984B-AF3A-C29B70B16F71}" destId="{A25AF30F-3CAB-E247-A57D-DFCA43B982FD}" srcOrd="9" destOrd="0" presId="urn:microsoft.com/office/officeart/2005/8/layout/hierarchy1"/>
    <dgm:cxn modelId="{8DEC459C-8021-7C40-B8A6-D6D2C33FBE2C}" type="presParOf" srcId="{A25AF30F-3CAB-E247-A57D-DFCA43B982FD}" destId="{3C2291E2-23C1-B94A-AB9E-9EBF12DDC6F5}" srcOrd="0" destOrd="0" presId="urn:microsoft.com/office/officeart/2005/8/layout/hierarchy1"/>
    <dgm:cxn modelId="{E48FDB13-2312-574B-A4C4-3FBA2EC211C9}" type="presParOf" srcId="{3C2291E2-23C1-B94A-AB9E-9EBF12DDC6F5}" destId="{59031055-1BC2-8F43-A4A3-A7F15F7BBEC5}" srcOrd="0" destOrd="0" presId="urn:microsoft.com/office/officeart/2005/8/layout/hierarchy1"/>
    <dgm:cxn modelId="{BF8F48EE-7EF4-2E44-AD1C-DB971BC59ED0}" type="presParOf" srcId="{3C2291E2-23C1-B94A-AB9E-9EBF12DDC6F5}" destId="{B20F10BF-BA5B-AD41-B946-049ECE63137C}" srcOrd="1" destOrd="0" presId="urn:microsoft.com/office/officeart/2005/8/layout/hierarchy1"/>
    <dgm:cxn modelId="{48C92E7C-2851-AF41-8D9A-AD4D7F621636}" type="presParOf" srcId="{A25AF30F-3CAB-E247-A57D-DFCA43B982FD}" destId="{CAE1093E-AB94-3746-9543-AF49A9221D18}" srcOrd="1" destOrd="0" presId="urn:microsoft.com/office/officeart/2005/8/layout/hierarchy1"/>
    <dgm:cxn modelId="{BB5ED05C-DBD6-B846-9793-07DDAAE4214D}" type="presParOf" srcId="{CAE1093E-AB94-3746-9543-AF49A9221D18}" destId="{BEED4007-21AE-5C48-B470-C588FEA7AAED}" srcOrd="0" destOrd="0" presId="urn:microsoft.com/office/officeart/2005/8/layout/hierarchy1"/>
    <dgm:cxn modelId="{13C270E4-F4A3-DA43-AAF8-597591337960}" type="presParOf" srcId="{CAE1093E-AB94-3746-9543-AF49A9221D18}" destId="{C8921CDB-BFBE-9648-9CDA-684950129D5C}" srcOrd="1" destOrd="0" presId="urn:microsoft.com/office/officeart/2005/8/layout/hierarchy1"/>
    <dgm:cxn modelId="{DDCE1573-3648-544D-B6CD-4DBCB5FE0694}" type="presParOf" srcId="{C8921CDB-BFBE-9648-9CDA-684950129D5C}" destId="{F5E28B5A-EE21-CE47-AB16-A3B6BC905ABE}" srcOrd="0" destOrd="0" presId="urn:microsoft.com/office/officeart/2005/8/layout/hierarchy1"/>
    <dgm:cxn modelId="{A7F4695E-D6BC-294D-9485-6B9BC0168FDF}" type="presParOf" srcId="{F5E28B5A-EE21-CE47-AB16-A3B6BC905ABE}" destId="{832AC448-1B23-9F46-80AD-DE4443B3E350}" srcOrd="0" destOrd="0" presId="urn:microsoft.com/office/officeart/2005/8/layout/hierarchy1"/>
    <dgm:cxn modelId="{1121BD6D-4B28-7044-83EF-6B495CDCF336}" type="presParOf" srcId="{F5E28B5A-EE21-CE47-AB16-A3B6BC905ABE}" destId="{ABE38C49-F9E7-5E47-A91F-7E424E6B6656}" srcOrd="1" destOrd="0" presId="urn:microsoft.com/office/officeart/2005/8/layout/hierarchy1"/>
    <dgm:cxn modelId="{FFC14A6E-2478-914C-BDC6-6042C04FCB5E}" type="presParOf" srcId="{C8921CDB-BFBE-9648-9CDA-684950129D5C}" destId="{D11BFEAB-1780-4443-9165-DEB151A95C66}" srcOrd="1" destOrd="0" presId="urn:microsoft.com/office/officeart/2005/8/layout/hierarchy1"/>
  </dgm:cxnLst>
  <dgm:bg>
    <a:noFill/>
  </dgm:bg>
  <dgm:whole>
    <a:ln w="57150" cmpd="sn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FD2DC9C9-CCF8-6D47-A8AF-7E8440F609A2}" type="doc">
      <dgm:prSet loTypeId="urn:microsoft.com/office/officeart/2005/8/layout/hierarchy1" loCatId="" qsTypeId="urn:microsoft.com/office/officeart/2005/8/quickstyle/3D4" qsCatId="3D" csTypeId="urn:microsoft.com/office/officeart/2005/8/colors/accent1_2" csCatId="accent1" phldr="1"/>
      <dgm:spPr/>
      <dgm:t>
        <a:bodyPr/>
        <a:lstStyle/>
        <a:p>
          <a:endParaRPr lang="en-US"/>
        </a:p>
      </dgm:t>
    </dgm:pt>
    <dgm:pt modelId="{F0BFE2EF-58BF-E041-8DD7-59549EA0A9F8}">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EBITDA</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7CA747A0-FF5E-9F42-B487-CB348B3FC867}" type="parTrans" cxnId="{1187370A-2F7A-8946-A53C-C8636A921A76}">
      <dgm:prSet/>
      <dgm:spPr/>
      <dgm:t>
        <a:bodyPr/>
        <a:lstStyle/>
        <a:p>
          <a:endParaRPr lang="en-US"/>
        </a:p>
      </dgm:t>
    </dgm:pt>
    <dgm:pt modelId="{F19B1372-2C31-634E-94BC-A9055A69D038}" type="sibTrans" cxnId="{1187370A-2F7A-8946-A53C-C8636A921A76}">
      <dgm:prSet/>
      <dgm:spPr/>
      <dgm:t>
        <a:bodyPr/>
        <a:lstStyle/>
        <a:p>
          <a:endParaRPr lang="en-US"/>
        </a:p>
      </dgm:t>
    </dgm:pt>
    <dgm:pt modelId="{1ED59E78-E6AD-E640-9B08-B9E438BE60D7}">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Revenue</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1FA82A2E-E750-7A41-B459-789FFBEE241F}" type="parTrans" cxnId="{83551761-58DE-C14B-959A-B05707631808}">
      <dgm:prSet/>
      <dgm:spPr/>
      <dgm:t>
        <a:bodyPr/>
        <a:lstStyle/>
        <a:p>
          <a:endParaRPr lang="en-US"/>
        </a:p>
      </dgm:t>
    </dgm:pt>
    <dgm:pt modelId="{E1DDCE41-952C-3040-A230-18C5662B8B1C}" type="sibTrans" cxnId="{83551761-58DE-C14B-959A-B05707631808}">
      <dgm:prSet/>
      <dgm:spPr/>
      <dgm:t>
        <a:bodyPr/>
        <a:lstStyle/>
        <a:p>
          <a:endParaRPr lang="en-US"/>
        </a:p>
      </dgm:t>
    </dgm:pt>
    <dgm:pt modelId="{5B777C0A-7644-0C42-ADBF-D997F6D9F69E}">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EBITDA %</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06778491-4684-D443-8AA7-720E49D9DD8F}" type="parTrans" cxnId="{E44834B4-EC0C-664B-A9A3-24DACB53D730}">
      <dgm:prSet/>
      <dgm:spPr/>
      <dgm:t>
        <a:bodyPr/>
        <a:lstStyle/>
        <a:p>
          <a:endParaRPr lang="en-US"/>
        </a:p>
      </dgm:t>
    </dgm:pt>
    <dgm:pt modelId="{3D9A3198-2517-D249-B3DB-48331BD84D07}" type="sibTrans" cxnId="{E44834B4-EC0C-664B-A9A3-24DACB53D730}">
      <dgm:prSet/>
      <dgm:spPr/>
      <dgm:t>
        <a:bodyPr/>
        <a:lstStyle/>
        <a:p>
          <a:endParaRPr lang="en-US"/>
        </a:p>
      </dgm:t>
    </dgm:pt>
    <dgm:pt modelId="{0FBF8549-FB85-B641-B591-83D0EE7EEDBB}">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Fixed Costs</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C9EC741C-2CB3-2841-B170-68D84679E2F3}" type="parTrans" cxnId="{7E242E5E-D8FA-D242-B544-E53E4BD0A55F}">
      <dgm:prSet/>
      <dgm:spPr/>
      <dgm:t>
        <a:bodyPr/>
        <a:lstStyle/>
        <a:p>
          <a:endParaRPr lang="en-US"/>
        </a:p>
      </dgm:t>
    </dgm:pt>
    <dgm:pt modelId="{22D72F94-BE06-594C-AE24-C1A00D626B5B}" type="sibTrans" cxnId="{7E242E5E-D8FA-D242-B544-E53E4BD0A55F}">
      <dgm:prSet/>
      <dgm:spPr/>
      <dgm:t>
        <a:bodyPr/>
        <a:lstStyle/>
        <a:p>
          <a:endParaRPr lang="en-US"/>
        </a:p>
      </dgm:t>
    </dgm:pt>
    <dgm:pt modelId="{F027D2DE-19C7-E84E-838B-949D6CBF750D}">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Variable Costs</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04D617C6-C465-8642-A7D0-E4583EF3BED3}" type="parTrans" cxnId="{AF060ADF-3617-6E4F-9EC0-E243BF53B19C}">
      <dgm:prSet/>
      <dgm:spPr/>
      <dgm:t>
        <a:bodyPr/>
        <a:lstStyle/>
        <a:p>
          <a:endParaRPr lang="en-US"/>
        </a:p>
      </dgm:t>
    </dgm:pt>
    <dgm:pt modelId="{94598184-CD2E-D749-9FC1-61AF265048FB}" type="sibTrans" cxnId="{AF060ADF-3617-6E4F-9EC0-E243BF53B19C}">
      <dgm:prSet/>
      <dgm:spPr/>
      <dgm:t>
        <a:bodyPr/>
        <a:lstStyle/>
        <a:p>
          <a:endParaRPr lang="en-US"/>
        </a:p>
      </dgm:t>
    </dgm:pt>
    <dgm:pt modelId="{EFE15CDF-F771-614A-A367-3CF9F782C2D2}">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Cost of Goods Sold</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BF438A0B-D888-3C4C-A5B8-884E978D0857}" type="parTrans" cxnId="{8B71ED53-865A-2344-B69F-A8074CAFEBAC}">
      <dgm:prSet/>
      <dgm:spPr/>
      <dgm:t>
        <a:bodyPr/>
        <a:lstStyle/>
        <a:p>
          <a:endParaRPr lang="en-US"/>
        </a:p>
      </dgm:t>
    </dgm:pt>
    <dgm:pt modelId="{794BAF61-B7DC-8644-B3A8-051627F6C9E4}" type="sibTrans" cxnId="{8B71ED53-865A-2344-B69F-A8074CAFEBAC}">
      <dgm:prSet/>
      <dgm:spPr/>
      <dgm:t>
        <a:bodyPr/>
        <a:lstStyle/>
        <a:p>
          <a:endParaRPr lang="en-US"/>
        </a:p>
      </dgm:t>
    </dgm:pt>
    <dgm:pt modelId="{2EFD5CFA-74DC-7B43-8C7A-1582CD81048D}">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Mix of sales</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5F5E8CAB-E048-BD47-B74B-5A68522CA1E3}" type="parTrans" cxnId="{C478280E-8D91-504D-8948-EB79EE642436}">
      <dgm:prSet/>
      <dgm:spPr/>
      <dgm:t>
        <a:bodyPr/>
        <a:lstStyle/>
        <a:p>
          <a:endParaRPr lang="en-US"/>
        </a:p>
      </dgm:t>
    </dgm:pt>
    <dgm:pt modelId="{67A3780A-9865-E843-AD66-87A967043BF5}" type="sibTrans" cxnId="{C478280E-8D91-504D-8948-EB79EE642436}">
      <dgm:prSet/>
      <dgm:spPr/>
      <dgm:t>
        <a:bodyPr/>
        <a:lstStyle/>
        <a:p>
          <a:endParaRPr lang="en-US"/>
        </a:p>
      </dgm:t>
    </dgm:pt>
    <dgm:pt modelId="{46A63285-D7E4-9E46-99B0-7505469B9C27}">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Revenue Per Visitor</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61F29468-38F5-A440-8584-C577A88F6E8A}" type="parTrans" cxnId="{D577BE65-06E4-0C42-8A08-30FF2729B3A0}">
      <dgm:prSet/>
      <dgm:spPr/>
      <dgm:t>
        <a:bodyPr/>
        <a:lstStyle/>
        <a:p>
          <a:endParaRPr lang="en-US"/>
        </a:p>
      </dgm:t>
    </dgm:pt>
    <dgm:pt modelId="{187838A6-9130-F54B-99E0-3D8A3CABA73C}" type="sibTrans" cxnId="{D577BE65-06E4-0C42-8A08-30FF2729B3A0}">
      <dgm:prSet/>
      <dgm:spPr/>
      <dgm:t>
        <a:bodyPr/>
        <a:lstStyle/>
        <a:p>
          <a:endParaRPr lang="en-US"/>
        </a:p>
      </dgm:t>
    </dgm:pt>
    <dgm:pt modelId="{566B525C-06CE-5548-BA4E-7D4651190FD9}">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Visitors</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BE596E42-0D7C-0E48-BE53-AD094094DDC1}" type="parTrans" cxnId="{B969419B-0E00-704B-AF03-F855A2C5775F}">
      <dgm:prSet/>
      <dgm:spPr/>
      <dgm:t>
        <a:bodyPr/>
        <a:lstStyle/>
        <a:p>
          <a:endParaRPr lang="en-US"/>
        </a:p>
      </dgm:t>
    </dgm:pt>
    <dgm:pt modelId="{C6CED74D-B694-2D4F-9796-44FAD1CBCD52}" type="sibTrans" cxnId="{B969419B-0E00-704B-AF03-F855A2C5775F}">
      <dgm:prSet/>
      <dgm:spPr/>
      <dgm:t>
        <a:bodyPr/>
        <a:lstStyle/>
        <a:p>
          <a:endParaRPr lang="en-US"/>
        </a:p>
      </dgm:t>
    </dgm:pt>
    <dgm:pt modelId="{B9B4B99D-CB32-D54E-A379-B89AF5BED9B0}">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Average Order Value</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EDF1D375-7B10-7E49-AC6B-82B302F58596}" type="parTrans" cxnId="{E0CC617B-ED4D-8E44-A6FE-056F4F57E862}">
      <dgm:prSet/>
      <dgm:spPr/>
      <dgm:t>
        <a:bodyPr/>
        <a:lstStyle/>
        <a:p>
          <a:endParaRPr lang="en-US"/>
        </a:p>
      </dgm:t>
    </dgm:pt>
    <dgm:pt modelId="{82EE4F3A-328F-694A-9AC5-53B3B3019FE8}" type="sibTrans" cxnId="{E0CC617B-ED4D-8E44-A6FE-056F4F57E862}">
      <dgm:prSet/>
      <dgm:spPr/>
      <dgm:t>
        <a:bodyPr/>
        <a:lstStyle/>
        <a:p>
          <a:endParaRPr lang="en-US"/>
        </a:p>
      </dgm:t>
    </dgm:pt>
    <dgm:pt modelId="{44FD66EA-4CE9-0D48-8AC1-AFA9DA5ACBB0}">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Conversion Rate</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C3214348-96F5-E846-AC73-A71547C1F830}" type="parTrans" cxnId="{29703FF3-0FDF-F345-AC9B-E3FEADF713C7}">
      <dgm:prSet/>
      <dgm:spPr/>
      <dgm:t>
        <a:bodyPr/>
        <a:lstStyle/>
        <a:p>
          <a:endParaRPr lang="en-US"/>
        </a:p>
      </dgm:t>
    </dgm:pt>
    <dgm:pt modelId="{9F8B30B0-06D8-1844-A54C-DC086B6ECC08}" type="sibTrans" cxnId="{29703FF3-0FDF-F345-AC9B-E3FEADF713C7}">
      <dgm:prSet/>
      <dgm:spPr/>
      <dgm:t>
        <a:bodyPr/>
        <a:lstStyle/>
        <a:p>
          <a:endParaRPr lang="en-US"/>
        </a:p>
      </dgm:t>
    </dgm:pt>
    <dgm:pt modelId="{2D4C7867-E77A-3C4B-8039-737FC12F437C}">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Per Contract Contribution</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C7DDA6DE-6810-1440-9BE3-F86F01EF381B}" type="parTrans" cxnId="{2C2563A3-E45B-1545-90FF-8FAFFDEDE485}">
      <dgm:prSet/>
      <dgm:spPr/>
      <dgm:t>
        <a:bodyPr/>
        <a:lstStyle/>
        <a:p>
          <a:endParaRPr lang="en-US"/>
        </a:p>
      </dgm:t>
    </dgm:pt>
    <dgm:pt modelId="{397ED489-CEF7-5146-8D35-8C1141D75A93}" type="sibTrans" cxnId="{2C2563A3-E45B-1545-90FF-8FAFFDEDE485}">
      <dgm:prSet/>
      <dgm:spPr/>
      <dgm:t>
        <a:bodyPr/>
        <a:lstStyle/>
        <a:p>
          <a:endParaRPr lang="en-US"/>
        </a:p>
      </dgm:t>
    </dgm:pt>
    <dgm:pt modelId="{AD7C0CA3-95EB-0F48-B272-DF8C2E502540}">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Upsells:</a:t>
          </a:r>
          <a:br>
            <a:rPr lang="en-US" b="1" dirty="0" smtClean="0">
              <a:solidFill>
                <a:schemeClr val="accent1">
                  <a:lumMod val="50000"/>
                </a:schemeClr>
              </a:solidFill>
              <a:effectLst>
                <a:outerShdw blurRad="50800" dist="38100" dir="2700000" algn="tl" rotWithShape="0">
                  <a:prstClr val="black">
                    <a:alpha val="40000"/>
                  </a:prstClr>
                </a:outerShdw>
              </a:effectLst>
            </a:rPr>
          </a:br>
          <a:r>
            <a:rPr lang="en-US" b="1" dirty="0" smtClean="0">
              <a:solidFill>
                <a:schemeClr val="accent1">
                  <a:lumMod val="50000"/>
                </a:schemeClr>
              </a:solidFill>
              <a:effectLst>
                <a:outerShdw blurRad="50800" dist="38100" dir="2700000" algn="tl" rotWithShape="0">
                  <a:prstClr val="black">
                    <a:alpha val="40000"/>
                  </a:prstClr>
                </a:outerShdw>
              </a:effectLst>
            </a:rPr>
            <a:t/>
          </a:r>
          <a:br>
            <a:rPr lang="en-US" b="1" dirty="0" smtClean="0">
              <a:solidFill>
                <a:schemeClr val="accent1">
                  <a:lumMod val="50000"/>
                </a:schemeClr>
              </a:solidFill>
              <a:effectLst>
                <a:outerShdw blurRad="50800" dist="38100" dir="2700000" algn="tl" rotWithShape="0">
                  <a:prstClr val="black">
                    <a:alpha val="40000"/>
                  </a:prstClr>
                </a:outerShdw>
              </a:effectLst>
            </a:rPr>
          </a:br>
          <a:r>
            <a:rPr lang="en-US" b="1" dirty="0" smtClean="0">
              <a:solidFill>
                <a:schemeClr val="accent1">
                  <a:lumMod val="50000"/>
                </a:schemeClr>
              </a:solidFill>
              <a:effectLst>
                <a:outerShdw blurRad="50800" dist="38100" dir="2700000" algn="tl" rotWithShape="0">
                  <a:prstClr val="black">
                    <a:alpha val="40000"/>
                  </a:prstClr>
                </a:outerShdw>
              </a:effectLst>
            </a:rPr>
            <a:t>+ Attribution LTV</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12697B9F-EAD1-BF42-B95E-0F6DCE254105}" type="parTrans" cxnId="{3451C6DC-0AE5-1D48-8836-D51551584566}">
      <dgm:prSet/>
      <dgm:spPr/>
      <dgm:t>
        <a:bodyPr/>
        <a:lstStyle/>
        <a:p>
          <a:endParaRPr lang="en-US"/>
        </a:p>
      </dgm:t>
    </dgm:pt>
    <dgm:pt modelId="{47317FB5-FC0E-7244-AA4D-D5EF36962137}" type="sibTrans" cxnId="{3451C6DC-0AE5-1D48-8836-D51551584566}">
      <dgm:prSet/>
      <dgm:spPr/>
      <dgm:t>
        <a:bodyPr/>
        <a:lstStyle/>
        <a:p>
          <a:endParaRPr lang="en-US"/>
        </a:p>
      </dgm:t>
    </dgm:pt>
    <dgm:pt modelId="{D02B59C3-D387-7A4B-B52C-14C38564C082}">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User Acquisition</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DF162AD3-D77E-D74E-9B62-533C1326075D}" type="parTrans" cxnId="{239218D4-356F-2C4C-809A-7AA14EB8F0A2}">
      <dgm:prSet/>
      <dgm:spPr/>
      <dgm:t>
        <a:bodyPr/>
        <a:lstStyle/>
        <a:p>
          <a:endParaRPr lang="en-US"/>
        </a:p>
      </dgm:t>
    </dgm:pt>
    <dgm:pt modelId="{9C9002AC-DA8F-C34B-BD1D-FBEE194EAC8C}" type="sibTrans" cxnId="{239218D4-356F-2C4C-809A-7AA14EB8F0A2}">
      <dgm:prSet/>
      <dgm:spPr/>
      <dgm:t>
        <a:bodyPr/>
        <a:lstStyle/>
        <a:p>
          <a:endParaRPr lang="en-US"/>
        </a:p>
      </dgm:t>
    </dgm:pt>
    <dgm:pt modelId="{1BF13664-9713-0342-BF6B-0647D551A138}">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Marketing</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B401DFF8-5BF3-AC45-B641-616718C5F12C}" type="parTrans" cxnId="{82D5F2AA-8A37-CD42-9026-77F37069C4CD}">
      <dgm:prSet/>
      <dgm:spPr/>
      <dgm:t>
        <a:bodyPr/>
        <a:lstStyle/>
        <a:p>
          <a:endParaRPr lang="en-US"/>
        </a:p>
      </dgm:t>
    </dgm:pt>
    <dgm:pt modelId="{266DF4DF-A330-7945-8A94-8A7660723381}" type="sibTrans" cxnId="{82D5F2AA-8A37-CD42-9026-77F37069C4CD}">
      <dgm:prSet/>
      <dgm:spPr/>
      <dgm:t>
        <a:bodyPr/>
        <a:lstStyle/>
        <a:p>
          <a:endParaRPr lang="en-US"/>
        </a:p>
      </dgm:t>
    </dgm:pt>
    <dgm:pt modelId="{93FB23B8-1A9C-4C4A-8689-381C7447498D}">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 Affiliate Commissions</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C598D08E-162F-DB4F-A24D-6B5281CF3207}" type="parTrans" cxnId="{04FD0793-125F-5A47-8B16-6050CDB4A5BC}">
      <dgm:prSet/>
      <dgm:spPr/>
      <dgm:t>
        <a:bodyPr/>
        <a:lstStyle/>
        <a:p>
          <a:endParaRPr lang="en-US"/>
        </a:p>
      </dgm:t>
    </dgm:pt>
    <dgm:pt modelId="{A994F214-9883-0943-998F-7F9D62AFC602}" type="sibTrans" cxnId="{04FD0793-125F-5A47-8B16-6050CDB4A5BC}">
      <dgm:prSet/>
      <dgm:spPr/>
      <dgm:t>
        <a:bodyPr/>
        <a:lstStyle/>
        <a:p>
          <a:endParaRPr lang="en-US"/>
        </a:p>
      </dgm:t>
    </dgm:pt>
    <dgm:pt modelId="{F850B780-DA87-864F-825A-184E7B41EB06}">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Product Availability</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BB3DE6C4-EC5E-184C-8B89-5CFABD4A20CC}" type="parTrans" cxnId="{EDB50EFE-3668-984B-BD23-F6F7E01E51D2}">
      <dgm:prSet/>
      <dgm:spPr/>
      <dgm:t>
        <a:bodyPr/>
        <a:lstStyle/>
        <a:p>
          <a:endParaRPr lang="en-US"/>
        </a:p>
      </dgm:t>
    </dgm:pt>
    <dgm:pt modelId="{E7CB51C7-9AF5-1946-8A48-16D4EB6D3555}" type="sibTrans" cxnId="{EDB50EFE-3668-984B-BD23-F6F7E01E51D2}">
      <dgm:prSet/>
      <dgm:spPr/>
      <dgm:t>
        <a:bodyPr/>
        <a:lstStyle/>
        <a:p>
          <a:endParaRPr lang="en-US"/>
        </a:p>
      </dgm:t>
    </dgm:pt>
    <dgm:pt modelId="{44B48ADB-EBEF-FD4B-BF66-FAB9185BF126}">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Customer Type</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09EDD876-B048-0545-B254-04BC89902D4E}" type="parTrans" cxnId="{71B2A4BE-A8E2-D548-9723-28EBD1B28EDF}">
      <dgm:prSet/>
      <dgm:spPr/>
      <dgm:t>
        <a:bodyPr/>
        <a:lstStyle/>
        <a:p>
          <a:endParaRPr lang="en-US"/>
        </a:p>
      </dgm:t>
    </dgm:pt>
    <dgm:pt modelId="{3386F023-9181-754A-A6B1-5F508F7E0367}" type="sibTrans" cxnId="{71B2A4BE-A8E2-D548-9723-28EBD1B28EDF}">
      <dgm:prSet/>
      <dgm:spPr/>
      <dgm:t>
        <a:bodyPr/>
        <a:lstStyle/>
        <a:p>
          <a:endParaRPr lang="en-US"/>
        </a:p>
      </dgm:t>
    </dgm:pt>
    <dgm:pt modelId="{E9CF75F3-1B29-E341-ABC6-147C1EF53E65}">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User Acquisition</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9B20D1BA-44D1-804F-907F-1BAA95F41728}" type="parTrans" cxnId="{6E4DF8D9-A551-A549-8CB3-39439C1455F9}">
      <dgm:prSet/>
      <dgm:spPr/>
      <dgm:t>
        <a:bodyPr/>
        <a:lstStyle/>
        <a:p>
          <a:endParaRPr lang="en-US"/>
        </a:p>
      </dgm:t>
    </dgm:pt>
    <dgm:pt modelId="{590C6301-66F8-F241-831E-E37F64F93873}" type="sibTrans" cxnId="{6E4DF8D9-A551-A549-8CB3-39439C1455F9}">
      <dgm:prSet/>
      <dgm:spPr/>
      <dgm:t>
        <a:bodyPr/>
        <a:lstStyle/>
        <a:p>
          <a:endParaRPr lang="en-US"/>
        </a:p>
      </dgm:t>
    </dgm:pt>
    <dgm:pt modelId="{7D0F0C25-BB2B-F74D-91E4-D075A4B817A5}">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Retention</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FB5D9003-A5E7-A84C-9FE6-6239428CE949}" type="parTrans" cxnId="{225CF06D-2842-804D-8878-E8D9C8005469}">
      <dgm:prSet/>
      <dgm:spPr/>
      <dgm:t>
        <a:bodyPr/>
        <a:lstStyle/>
        <a:p>
          <a:endParaRPr lang="en-US"/>
        </a:p>
      </dgm:t>
    </dgm:pt>
    <dgm:pt modelId="{91375396-BF6D-5649-A5AC-E8C04D49BADA}" type="sibTrans" cxnId="{225CF06D-2842-804D-8878-E8D9C8005469}">
      <dgm:prSet/>
      <dgm:spPr/>
      <dgm:t>
        <a:bodyPr/>
        <a:lstStyle/>
        <a:p>
          <a:endParaRPr lang="en-US"/>
        </a:p>
      </dgm:t>
    </dgm:pt>
    <dgm:pt modelId="{D562BF9F-FB69-A040-8E2A-B0CACEFD918F}">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Net Promoter Score:</a:t>
          </a:r>
          <a:br>
            <a:rPr lang="en-US" b="1" dirty="0" smtClean="0">
              <a:solidFill>
                <a:schemeClr val="accent1">
                  <a:lumMod val="50000"/>
                </a:schemeClr>
              </a:solidFill>
              <a:effectLst>
                <a:outerShdw blurRad="50800" dist="38100" dir="2700000" algn="tl" rotWithShape="0">
                  <a:prstClr val="black">
                    <a:alpha val="40000"/>
                  </a:prstClr>
                </a:outerShdw>
              </a:effectLst>
            </a:rPr>
          </a:br>
          <a:r>
            <a:rPr lang="en-US" b="0" dirty="0" smtClean="0">
              <a:solidFill>
                <a:schemeClr val="accent1">
                  <a:lumMod val="50000"/>
                </a:schemeClr>
              </a:solidFill>
              <a:effectLst>
                <a:outerShdw blurRad="50800" dist="38100" dir="2700000" algn="tl" rotWithShape="0">
                  <a:prstClr val="black">
                    <a:alpha val="40000"/>
                  </a:prstClr>
                </a:outerShdw>
              </a:effectLst>
            </a:rPr>
            <a:t>Order success, customer feedback</a:t>
          </a:r>
          <a:endParaRPr lang="en-US" b="0" dirty="0">
            <a:solidFill>
              <a:schemeClr val="accent1">
                <a:lumMod val="50000"/>
              </a:schemeClr>
            </a:solidFill>
            <a:effectLst>
              <a:outerShdw blurRad="50800" dist="38100" dir="2700000" algn="tl" rotWithShape="0">
                <a:prstClr val="black">
                  <a:alpha val="40000"/>
                </a:prstClr>
              </a:outerShdw>
            </a:effectLst>
          </a:endParaRPr>
        </a:p>
      </dgm:t>
    </dgm:pt>
    <dgm:pt modelId="{8D278093-F0B0-0349-BFD0-6DE36641B0D9}" type="parTrans" cxnId="{6856A0F5-8848-CE49-B91B-0FD62C30AD35}">
      <dgm:prSet/>
      <dgm:spPr/>
      <dgm:t>
        <a:bodyPr/>
        <a:lstStyle/>
        <a:p>
          <a:endParaRPr lang="en-US"/>
        </a:p>
      </dgm:t>
    </dgm:pt>
    <dgm:pt modelId="{D81E7FC4-4D77-3940-81B5-8AADB2F7EC06}" type="sibTrans" cxnId="{6856A0F5-8848-CE49-B91B-0FD62C30AD35}">
      <dgm:prSet/>
      <dgm:spPr/>
      <dgm:t>
        <a:bodyPr/>
        <a:lstStyle/>
        <a:p>
          <a:endParaRPr lang="en-US"/>
        </a:p>
      </dgm:t>
    </dgm:pt>
    <dgm:pt modelId="{2EF173D6-BF65-554D-A9B9-3FDAFF34C0CA}">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Landing Page Optimization</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C9EB1202-5CCD-A544-B7EA-43AADDB7B914}" type="parTrans" cxnId="{BA443CBD-EF17-0A40-A240-D015D18FD4A3}">
      <dgm:prSet/>
      <dgm:spPr/>
      <dgm:t>
        <a:bodyPr/>
        <a:lstStyle/>
        <a:p>
          <a:endParaRPr lang="en-US"/>
        </a:p>
      </dgm:t>
    </dgm:pt>
    <dgm:pt modelId="{E68EEE8D-293B-0C4A-B6DA-14F072BD687B}" type="sibTrans" cxnId="{BA443CBD-EF17-0A40-A240-D015D18FD4A3}">
      <dgm:prSet/>
      <dgm:spPr/>
      <dgm:t>
        <a:bodyPr/>
        <a:lstStyle/>
        <a:p>
          <a:endParaRPr lang="en-US"/>
        </a:p>
      </dgm:t>
    </dgm:pt>
    <dgm:pt modelId="{041119CE-361E-6D4A-9899-F5AB6B6B890A}" type="pres">
      <dgm:prSet presAssocID="{FD2DC9C9-CCF8-6D47-A8AF-7E8440F609A2}" presName="hierChild1" presStyleCnt="0">
        <dgm:presLayoutVars>
          <dgm:chPref val="1"/>
          <dgm:dir/>
          <dgm:animOne val="branch"/>
          <dgm:animLvl val="lvl"/>
          <dgm:resizeHandles/>
        </dgm:presLayoutVars>
      </dgm:prSet>
      <dgm:spPr/>
      <dgm:t>
        <a:bodyPr/>
        <a:lstStyle/>
        <a:p>
          <a:endParaRPr lang="en-US"/>
        </a:p>
      </dgm:t>
    </dgm:pt>
    <dgm:pt modelId="{F5583FF7-8D99-E146-9B45-FE375BBF3057}" type="pres">
      <dgm:prSet presAssocID="{F0BFE2EF-58BF-E041-8DD7-59549EA0A9F8}" presName="hierRoot1" presStyleCnt="0"/>
      <dgm:spPr/>
    </dgm:pt>
    <dgm:pt modelId="{78FDE102-464B-EA4C-A0CA-A23E8F3B35BD}" type="pres">
      <dgm:prSet presAssocID="{F0BFE2EF-58BF-E041-8DD7-59549EA0A9F8}" presName="composite" presStyleCnt="0"/>
      <dgm:spPr/>
    </dgm:pt>
    <dgm:pt modelId="{0E8A4AC7-A528-6245-B58B-C57BCA9D2ACF}" type="pres">
      <dgm:prSet presAssocID="{F0BFE2EF-58BF-E041-8DD7-59549EA0A9F8}" presName="background" presStyleLbl="node0" presStyleIdx="0" presStyleCnt="1"/>
      <dgm:spPr/>
    </dgm:pt>
    <dgm:pt modelId="{925884AF-7E3A-434B-9DC8-A726CF728958}" type="pres">
      <dgm:prSet presAssocID="{F0BFE2EF-58BF-E041-8DD7-59549EA0A9F8}" presName="text" presStyleLbl="fgAcc0" presStyleIdx="0" presStyleCnt="1">
        <dgm:presLayoutVars>
          <dgm:chPref val="3"/>
        </dgm:presLayoutVars>
      </dgm:prSet>
      <dgm:spPr/>
      <dgm:t>
        <a:bodyPr/>
        <a:lstStyle/>
        <a:p>
          <a:endParaRPr lang="en-US"/>
        </a:p>
      </dgm:t>
    </dgm:pt>
    <dgm:pt modelId="{6DE7C0D3-9B6F-1447-AD1E-950174683400}" type="pres">
      <dgm:prSet presAssocID="{F0BFE2EF-58BF-E041-8DD7-59549EA0A9F8}" presName="hierChild2" presStyleCnt="0"/>
      <dgm:spPr/>
    </dgm:pt>
    <dgm:pt modelId="{B496F004-25AB-E840-85D2-E92B0B529DCC}" type="pres">
      <dgm:prSet presAssocID="{1FA82A2E-E750-7A41-B459-789FFBEE241F}" presName="Name10" presStyleLbl="parChTrans1D2" presStyleIdx="0" presStyleCnt="2"/>
      <dgm:spPr/>
      <dgm:t>
        <a:bodyPr/>
        <a:lstStyle/>
        <a:p>
          <a:endParaRPr lang="en-US"/>
        </a:p>
      </dgm:t>
    </dgm:pt>
    <dgm:pt modelId="{6D6C7070-4E3D-C147-ADEB-01CB088A56D9}" type="pres">
      <dgm:prSet presAssocID="{1ED59E78-E6AD-E640-9B08-B9E438BE60D7}" presName="hierRoot2" presStyleCnt="0"/>
      <dgm:spPr/>
    </dgm:pt>
    <dgm:pt modelId="{90BEC5D6-43D1-AF45-A4F0-9F055C808A18}" type="pres">
      <dgm:prSet presAssocID="{1ED59E78-E6AD-E640-9B08-B9E438BE60D7}" presName="composite2" presStyleCnt="0"/>
      <dgm:spPr/>
    </dgm:pt>
    <dgm:pt modelId="{E2EECA00-B4E4-9C45-B41E-AC20FDDE8AEB}" type="pres">
      <dgm:prSet presAssocID="{1ED59E78-E6AD-E640-9B08-B9E438BE60D7}" presName="background2" presStyleLbl="node2" presStyleIdx="0" presStyleCnt="2"/>
      <dgm:spPr/>
    </dgm:pt>
    <dgm:pt modelId="{67AFA7D4-3275-8D45-A7D7-C969748BDFF7}" type="pres">
      <dgm:prSet presAssocID="{1ED59E78-E6AD-E640-9B08-B9E438BE60D7}" presName="text2" presStyleLbl="fgAcc2" presStyleIdx="0" presStyleCnt="2">
        <dgm:presLayoutVars>
          <dgm:chPref val="3"/>
        </dgm:presLayoutVars>
      </dgm:prSet>
      <dgm:spPr/>
      <dgm:t>
        <a:bodyPr/>
        <a:lstStyle/>
        <a:p>
          <a:endParaRPr lang="en-US"/>
        </a:p>
      </dgm:t>
    </dgm:pt>
    <dgm:pt modelId="{87F836AB-8342-E646-9FC3-5A43747BF671}" type="pres">
      <dgm:prSet presAssocID="{1ED59E78-E6AD-E640-9B08-B9E438BE60D7}" presName="hierChild3" presStyleCnt="0"/>
      <dgm:spPr/>
    </dgm:pt>
    <dgm:pt modelId="{789D0340-A1FD-D249-B71F-AFA3CFB92224}" type="pres">
      <dgm:prSet presAssocID="{61F29468-38F5-A440-8584-C577A88F6E8A}" presName="Name17" presStyleLbl="parChTrans1D3" presStyleIdx="0" presStyleCnt="4"/>
      <dgm:spPr/>
      <dgm:t>
        <a:bodyPr/>
        <a:lstStyle/>
        <a:p>
          <a:endParaRPr lang="en-US"/>
        </a:p>
      </dgm:t>
    </dgm:pt>
    <dgm:pt modelId="{5DA16B8B-0898-234B-84F7-6CC9E0365EE4}" type="pres">
      <dgm:prSet presAssocID="{46A63285-D7E4-9E46-99B0-7505469B9C27}" presName="hierRoot3" presStyleCnt="0"/>
      <dgm:spPr/>
    </dgm:pt>
    <dgm:pt modelId="{4AC0ECC1-BB61-0045-B371-3B600408D3F0}" type="pres">
      <dgm:prSet presAssocID="{46A63285-D7E4-9E46-99B0-7505469B9C27}" presName="composite3" presStyleCnt="0"/>
      <dgm:spPr/>
    </dgm:pt>
    <dgm:pt modelId="{DD645192-9AF5-7044-B0C5-A4131BD01FB3}" type="pres">
      <dgm:prSet presAssocID="{46A63285-D7E4-9E46-99B0-7505469B9C27}" presName="background3" presStyleLbl="node3" presStyleIdx="0" presStyleCnt="4"/>
      <dgm:spPr/>
    </dgm:pt>
    <dgm:pt modelId="{0E1CCE6F-EC87-F347-A32E-C126C906494E}" type="pres">
      <dgm:prSet presAssocID="{46A63285-D7E4-9E46-99B0-7505469B9C27}" presName="text3" presStyleLbl="fgAcc3" presStyleIdx="0" presStyleCnt="4">
        <dgm:presLayoutVars>
          <dgm:chPref val="3"/>
        </dgm:presLayoutVars>
      </dgm:prSet>
      <dgm:spPr/>
      <dgm:t>
        <a:bodyPr/>
        <a:lstStyle/>
        <a:p>
          <a:endParaRPr lang="en-US"/>
        </a:p>
      </dgm:t>
    </dgm:pt>
    <dgm:pt modelId="{125AF0C6-F73E-524E-92D0-32A9276A90FD}" type="pres">
      <dgm:prSet presAssocID="{46A63285-D7E4-9E46-99B0-7505469B9C27}" presName="hierChild4" presStyleCnt="0"/>
      <dgm:spPr/>
    </dgm:pt>
    <dgm:pt modelId="{C6024449-76EB-AE45-A483-20C84E555523}" type="pres">
      <dgm:prSet presAssocID="{EDF1D375-7B10-7E49-AC6B-82B302F58596}" presName="Name23" presStyleLbl="parChTrans1D4" presStyleIdx="0" presStyleCnt="15"/>
      <dgm:spPr/>
      <dgm:t>
        <a:bodyPr/>
        <a:lstStyle/>
        <a:p>
          <a:endParaRPr lang="en-US"/>
        </a:p>
      </dgm:t>
    </dgm:pt>
    <dgm:pt modelId="{86E8A377-92D2-6045-8C43-687F00923DD0}" type="pres">
      <dgm:prSet presAssocID="{B9B4B99D-CB32-D54E-A379-B89AF5BED9B0}" presName="hierRoot4" presStyleCnt="0"/>
      <dgm:spPr/>
    </dgm:pt>
    <dgm:pt modelId="{01B27C7B-84AF-BD4A-9D21-02EA4CA37DEB}" type="pres">
      <dgm:prSet presAssocID="{B9B4B99D-CB32-D54E-A379-B89AF5BED9B0}" presName="composite4" presStyleCnt="0"/>
      <dgm:spPr/>
    </dgm:pt>
    <dgm:pt modelId="{A17C5C36-4705-0845-835E-17463B160846}" type="pres">
      <dgm:prSet presAssocID="{B9B4B99D-CB32-D54E-A379-B89AF5BED9B0}" presName="background4" presStyleLbl="node4" presStyleIdx="0" presStyleCnt="15"/>
      <dgm:spPr/>
    </dgm:pt>
    <dgm:pt modelId="{9D00CA24-03DA-804B-B981-B9B341CAAAA9}" type="pres">
      <dgm:prSet presAssocID="{B9B4B99D-CB32-D54E-A379-B89AF5BED9B0}" presName="text4" presStyleLbl="fgAcc4" presStyleIdx="0" presStyleCnt="15">
        <dgm:presLayoutVars>
          <dgm:chPref val="3"/>
        </dgm:presLayoutVars>
      </dgm:prSet>
      <dgm:spPr/>
      <dgm:t>
        <a:bodyPr/>
        <a:lstStyle/>
        <a:p>
          <a:endParaRPr lang="en-US"/>
        </a:p>
      </dgm:t>
    </dgm:pt>
    <dgm:pt modelId="{E6AAC162-B6FF-3545-BAE9-4B9A05CD2270}" type="pres">
      <dgm:prSet presAssocID="{B9B4B99D-CB32-D54E-A379-B89AF5BED9B0}" presName="hierChild5" presStyleCnt="0"/>
      <dgm:spPr/>
    </dgm:pt>
    <dgm:pt modelId="{576507F5-3EC0-BF4B-B91C-D7024877CAF5}" type="pres">
      <dgm:prSet presAssocID="{C7DDA6DE-6810-1440-9BE3-F86F01EF381B}" presName="Name23" presStyleLbl="parChTrans1D4" presStyleIdx="1" presStyleCnt="15"/>
      <dgm:spPr/>
      <dgm:t>
        <a:bodyPr/>
        <a:lstStyle/>
        <a:p>
          <a:endParaRPr lang="en-US"/>
        </a:p>
      </dgm:t>
    </dgm:pt>
    <dgm:pt modelId="{6C81B437-454C-CE40-9EAB-28922171ECF4}" type="pres">
      <dgm:prSet presAssocID="{2D4C7867-E77A-3C4B-8039-737FC12F437C}" presName="hierRoot4" presStyleCnt="0"/>
      <dgm:spPr/>
    </dgm:pt>
    <dgm:pt modelId="{B650BC0A-B6B0-ED4B-AF43-E02FBA5E8437}" type="pres">
      <dgm:prSet presAssocID="{2D4C7867-E77A-3C4B-8039-737FC12F437C}" presName="composite4" presStyleCnt="0"/>
      <dgm:spPr/>
    </dgm:pt>
    <dgm:pt modelId="{35427254-1587-2E45-83F6-073984408973}" type="pres">
      <dgm:prSet presAssocID="{2D4C7867-E77A-3C4B-8039-737FC12F437C}" presName="background4" presStyleLbl="node4" presStyleIdx="1" presStyleCnt="15"/>
      <dgm:spPr/>
    </dgm:pt>
    <dgm:pt modelId="{4FAAF5E5-DA10-6144-B3A8-A3DEBE590789}" type="pres">
      <dgm:prSet presAssocID="{2D4C7867-E77A-3C4B-8039-737FC12F437C}" presName="text4" presStyleLbl="fgAcc4" presStyleIdx="1" presStyleCnt="15">
        <dgm:presLayoutVars>
          <dgm:chPref val="3"/>
        </dgm:presLayoutVars>
      </dgm:prSet>
      <dgm:spPr/>
      <dgm:t>
        <a:bodyPr/>
        <a:lstStyle/>
        <a:p>
          <a:endParaRPr lang="en-US"/>
        </a:p>
      </dgm:t>
    </dgm:pt>
    <dgm:pt modelId="{635B29A5-4767-7C40-A9F3-76AF3343D2E2}" type="pres">
      <dgm:prSet presAssocID="{2D4C7867-E77A-3C4B-8039-737FC12F437C}" presName="hierChild5" presStyleCnt="0"/>
      <dgm:spPr/>
    </dgm:pt>
    <dgm:pt modelId="{55661ECD-DF69-D142-928A-0D76D3F87296}" type="pres">
      <dgm:prSet presAssocID="{8D278093-F0B0-0349-BFD0-6DE36641B0D9}" presName="Name23" presStyleLbl="parChTrans1D4" presStyleIdx="2" presStyleCnt="15"/>
      <dgm:spPr/>
      <dgm:t>
        <a:bodyPr/>
        <a:lstStyle/>
        <a:p>
          <a:endParaRPr lang="en-US"/>
        </a:p>
      </dgm:t>
    </dgm:pt>
    <dgm:pt modelId="{B70C259B-4B02-DB40-866D-BE0D61864CFD}" type="pres">
      <dgm:prSet presAssocID="{D562BF9F-FB69-A040-8E2A-B0CACEFD918F}" presName="hierRoot4" presStyleCnt="0"/>
      <dgm:spPr/>
    </dgm:pt>
    <dgm:pt modelId="{A55067DE-D0CF-4C42-9DE4-664351382500}" type="pres">
      <dgm:prSet presAssocID="{D562BF9F-FB69-A040-8E2A-B0CACEFD918F}" presName="composite4" presStyleCnt="0"/>
      <dgm:spPr/>
    </dgm:pt>
    <dgm:pt modelId="{198B7CCA-BC23-5E43-8481-3E8F59188CF6}" type="pres">
      <dgm:prSet presAssocID="{D562BF9F-FB69-A040-8E2A-B0CACEFD918F}" presName="background4" presStyleLbl="node4" presStyleIdx="2" presStyleCnt="15"/>
      <dgm:spPr/>
    </dgm:pt>
    <dgm:pt modelId="{AB0DA436-81BC-584E-AD13-0C28DDB23613}" type="pres">
      <dgm:prSet presAssocID="{D562BF9F-FB69-A040-8E2A-B0CACEFD918F}" presName="text4" presStyleLbl="fgAcc4" presStyleIdx="2" presStyleCnt="15" custScaleX="112722">
        <dgm:presLayoutVars>
          <dgm:chPref val="3"/>
        </dgm:presLayoutVars>
      </dgm:prSet>
      <dgm:spPr/>
      <dgm:t>
        <a:bodyPr/>
        <a:lstStyle/>
        <a:p>
          <a:endParaRPr lang="en-US"/>
        </a:p>
      </dgm:t>
    </dgm:pt>
    <dgm:pt modelId="{ECBD4F52-F107-194D-8EB7-83C0B35B1051}" type="pres">
      <dgm:prSet presAssocID="{D562BF9F-FB69-A040-8E2A-B0CACEFD918F}" presName="hierChild5" presStyleCnt="0"/>
      <dgm:spPr/>
    </dgm:pt>
    <dgm:pt modelId="{3857BD89-200E-B442-9678-6A04F58E556C}" type="pres">
      <dgm:prSet presAssocID="{12697B9F-EAD1-BF42-B95E-0F6DCE254105}" presName="Name23" presStyleLbl="parChTrans1D4" presStyleIdx="3" presStyleCnt="15"/>
      <dgm:spPr/>
      <dgm:t>
        <a:bodyPr/>
        <a:lstStyle/>
        <a:p>
          <a:endParaRPr lang="en-US"/>
        </a:p>
      </dgm:t>
    </dgm:pt>
    <dgm:pt modelId="{960CF58E-58BF-EC45-9C89-8CBF10376A5C}" type="pres">
      <dgm:prSet presAssocID="{AD7C0CA3-95EB-0F48-B272-DF8C2E502540}" presName="hierRoot4" presStyleCnt="0"/>
      <dgm:spPr/>
    </dgm:pt>
    <dgm:pt modelId="{A6C2DD55-4D79-F848-A9E3-D47AE686A157}" type="pres">
      <dgm:prSet presAssocID="{AD7C0CA3-95EB-0F48-B272-DF8C2E502540}" presName="composite4" presStyleCnt="0"/>
      <dgm:spPr/>
    </dgm:pt>
    <dgm:pt modelId="{59D77A92-A375-BF41-B5DB-29896FA0A695}" type="pres">
      <dgm:prSet presAssocID="{AD7C0CA3-95EB-0F48-B272-DF8C2E502540}" presName="background4" presStyleLbl="node4" presStyleIdx="3" presStyleCnt="15"/>
      <dgm:spPr/>
    </dgm:pt>
    <dgm:pt modelId="{5AD98322-5143-5E4F-9168-F622EE51B6C4}" type="pres">
      <dgm:prSet presAssocID="{AD7C0CA3-95EB-0F48-B272-DF8C2E502540}" presName="text4" presStyleLbl="fgAcc4" presStyleIdx="3" presStyleCnt="15">
        <dgm:presLayoutVars>
          <dgm:chPref val="3"/>
        </dgm:presLayoutVars>
      </dgm:prSet>
      <dgm:spPr/>
      <dgm:t>
        <a:bodyPr/>
        <a:lstStyle/>
        <a:p>
          <a:endParaRPr lang="en-US"/>
        </a:p>
      </dgm:t>
    </dgm:pt>
    <dgm:pt modelId="{05C3F5A4-A0D3-124F-8F8C-FA174FA11AC4}" type="pres">
      <dgm:prSet presAssocID="{AD7C0CA3-95EB-0F48-B272-DF8C2E502540}" presName="hierChild5" presStyleCnt="0"/>
      <dgm:spPr/>
    </dgm:pt>
    <dgm:pt modelId="{6AEA2299-4ADF-4445-BBFB-696B6A613788}" type="pres">
      <dgm:prSet presAssocID="{BB3DE6C4-EC5E-184C-8B89-5CFABD4A20CC}" presName="Name23" presStyleLbl="parChTrans1D4" presStyleIdx="4" presStyleCnt="15"/>
      <dgm:spPr/>
      <dgm:t>
        <a:bodyPr/>
        <a:lstStyle/>
        <a:p>
          <a:endParaRPr lang="en-US"/>
        </a:p>
      </dgm:t>
    </dgm:pt>
    <dgm:pt modelId="{B5FCB7C5-2B66-5344-B42F-559162FCE94B}" type="pres">
      <dgm:prSet presAssocID="{F850B780-DA87-864F-825A-184E7B41EB06}" presName="hierRoot4" presStyleCnt="0"/>
      <dgm:spPr/>
    </dgm:pt>
    <dgm:pt modelId="{993DF222-237C-0747-AA17-D2A54A7D9599}" type="pres">
      <dgm:prSet presAssocID="{F850B780-DA87-864F-825A-184E7B41EB06}" presName="composite4" presStyleCnt="0"/>
      <dgm:spPr/>
    </dgm:pt>
    <dgm:pt modelId="{5DDF2FD7-606F-444A-B3A9-D5A8DC32EEEA}" type="pres">
      <dgm:prSet presAssocID="{F850B780-DA87-864F-825A-184E7B41EB06}" presName="background4" presStyleLbl="node4" presStyleIdx="4" presStyleCnt="15"/>
      <dgm:spPr/>
    </dgm:pt>
    <dgm:pt modelId="{EE995676-1CFC-0043-B160-9FF05CF1B80F}" type="pres">
      <dgm:prSet presAssocID="{F850B780-DA87-864F-825A-184E7B41EB06}" presName="text4" presStyleLbl="fgAcc4" presStyleIdx="4" presStyleCnt="15">
        <dgm:presLayoutVars>
          <dgm:chPref val="3"/>
        </dgm:presLayoutVars>
      </dgm:prSet>
      <dgm:spPr/>
      <dgm:t>
        <a:bodyPr/>
        <a:lstStyle/>
        <a:p>
          <a:endParaRPr lang="en-US"/>
        </a:p>
      </dgm:t>
    </dgm:pt>
    <dgm:pt modelId="{3105A727-3AE8-434A-A9E6-2D4CBF3C669C}" type="pres">
      <dgm:prSet presAssocID="{F850B780-DA87-864F-825A-184E7B41EB06}" presName="hierChild5" presStyleCnt="0"/>
      <dgm:spPr/>
    </dgm:pt>
    <dgm:pt modelId="{FE3605E3-5F76-1245-94CF-3B8BF0D125AC}" type="pres">
      <dgm:prSet presAssocID="{09EDD876-B048-0545-B254-04BC89902D4E}" presName="Name23" presStyleLbl="parChTrans1D4" presStyleIdx="5" presStyleCnt="15"/>
      <dgm:spPr/>
      <dgm:t>
        <a:bodyPr/>
        <a:lstStyle/>
        <a:p>
          <a:endParaRPr lang="en-US"/>
        </a:p>
      </dgm:t>
    </dgm:pt>
    <dgm:pt modelId="{9C3FE433-803C-A747-930B-0CDF7BF12207}" type="pres">
      <dgm:prSet presAssocID="{44B48ADB-EBEF-FD4B-BF66-FAB9185BF126}" presName="hierRoot4" presStyleCnt="0"/>
      <dgm:spPr/>
    </dgm:pt>
    <dgm:pt modelId="{970081FC-1069-D34B-824D-B827453FB1D2}" type="pres">
      <dgm:prSet presAssocID="{44B48ADB-EBEF-FD4B-BF66-FAB9185BF126}" presName="composite4" presStyleCnt="0"/>
      <dgm:spPr/>
    </dgm:pt>
    <dgm:pt modelId="{138C990C-E169-204E-9734-F5A4F5D350AC}" type="pres">
      <dgm:prSet presAssocID="{44B48ADB-EBEF-FD4B-BF66-FAB9185BF126}" presName="background4" presStyleLbl="node4" presStyleIdx="5" presStyleCnt="15"/>
      <dgm:spPr/>
    </dgm:pt>
    <dgm:pt modelId="{BF5EB84A-A376-CC48-80A8-02D921FA679D}" type="pres">
      <dgm:prSet presAssocID="{44B48ADB-EBEF-FD4B-BF66-FAB9185BF126}" presName="text4" presStyleLbl="fgAcc4" presStyleIdx="5" presStyleCnt="15">
        <dgm:presLayoutVars>
          <dgm:chPref val="3"/>
        </dgm:presLayoutVars>
      </dgm:prSet>
      <dgm:spPr/>
      <dgm:t>
        <a:bodyPr/>
        <a:lstStyle/>
        <a:p>
          <a:endParaRPr lang="en-US"/>
        </a:p>
      </dgm:t>
    </dgm:pt>
    <dgm:pt modelId="{3B4F904C-C302-164E-8FF3-60909AB391DA}" type="pres">
      <dgm:prSet presAssocID="{44B48ADB-EBEF-FD4B-BF66-FAB9185BF126}" presName="hierChild5" presStyleCnt="0"/>
      <dgm:spPr/>
    </dgm:pt>
    <dgm:pt modelId="{6F1C2531-F6D7-554C-B237-64585FB09384}" type="pres">
      <dgm:prSet presAssocID="{C598D08E-162F-DB4F-A24D-6B5281CF3207}" presName="Name23" presStyleLbl="parChTrans1D4" presStyleIdx="6" presStyleCnt="15"/>
      <dgm:spPr/>
      <dgm:t>
        <a:bodyPr/>
        <a:lstStyle/>
        <a:p>
          <a:endParaRPr lang="en-US"/>
        </a:p>
      </dgm:t>
    </dgm:pt>
    <dgm:pt modelId="{13E5110D-C0E1-5545-81DF-0BF5E70538FC}" type="pres">
      <dgm:prSet presAssocID="{93FB23B8-1A9C-4C4A-8689-381C7447498D}" presName="hierRoot4" presStyleCnt="0"/>
      <dgm:spPr/>
    </dgm:pt>
    <dgm:pt modelId="{BDA3A631-DAF6-E948-A8AA-06C2F5A5185D}" type="pres">
      <dgm:prSet presAssocID="{93FB23B8-1A9C-4C4A-8689-381C7447498D}" presName="composite4" presStyleCnt="0"/>
      <dgm:spPr/>
    </dgm:pt>
    <dgm:pt modelId="{88C28D3B-C0E4-DD43-9A7C-DF7D40D592B1}" type="pres">
      <dgm:prSet presAssocID="{93FB23B8-1A9C-4C4A-8689-381C7447498D}" presName="background4" presStyleLbl="node4" presStyleIdx="6" presStyleCnt="15"/>
      <dgm:spPr/>
    </dgm:pt>
    <dgm:pt modelId="{0B265071-9F45-8749-8527-68F0D6A02E86}" type="pres">
      <dgm:prSet presAssocID="{93FB23B8-1A9C-4C4A-8689-381C7447498D}" presName="text4" presStyleLbl="fgAcc4" presStyleIdx="6" presStyleCnt="15">
        <dgm:presLayoutVars>
          <dgm:chPref val="3"/>
        </dgm:presLayoutVars>
      </dgm:prSet>
      <dgm:spPr/>
      <dgm:t>
        <a:bodyPr/>
        <a:lstStyle/>
        <a:p>
          <a:endParaRPr lang="en-US"/>
        </a:p>
      </dgm:t>
    </dgm:pt>
    <dgm:pt modelId="{D1B2A5DF-3038-0344-88F6-EA7D99EF3680}" type="pres">
      <dgm:prSet presAssocID="{93FB23B8-1A9C-4C4A-8689-381C7447498D}" presName="hierChild5" presStyleCnt="0"/>
      <dgm:spPr/>
    </dgm:pt>
    <dgm:pt modelId="{1BA4DB5B-0F72-224A-AC4B-AF406EE29299}" type="pres">
      <dgm:prSet presAssocID="{C3214348-96F5-E846-AC73-A71547C1F830}" presName="Name23" presStyleLbl="parChTrans1D4" presStyleIdx="7" presStyleCnt="15"/>
      <dgm:spPr/>
      <dgm:t>
        <a:bodyPr/>
        <a:lstStyle/>
        <a:p>
          <a:endParaRPr lang="en-US"/>
        </a:p>
      </dgm:t>
    </dgm:pt>
    <dgm:pt modelId="{C1696850-1609-0942-9EF8-4D0D1462C3C6}" type="pres">
      <dgm:prSet presAssocID="{44FD66EA-4CE9-0D48-8AC1-AFA9DA5ACBB0}" presName="hierRoot4" presStyleCnt="0"/>
      <dgm:spPr/>
    </dgm:pt>
    <dgm:pt modelId="{5504BDAF-4346-1546-9B18-80C8A371551C}" type="pres">
      <dgm:prSet presAssocID="{44FD66EA-4CE9-0D48-8AC1-AFA9DA5ACBB0}" presName="composite4" presStyleCnt="0"/>
      <dgm:spPr/>
    </dgm:pt>
    <dgm:pt modelId="{2307A037-36A2-C74F-B0E1-CDB4427BE35F}" type="pres">
      <dgm:prSet presAssocID="{44FD66EA-4CE9-0D48-8AC1-AFA9DA5ACBB0}" presName="background4" presStyleLbl="node4" presStyleIdx="7" presStyleCnt="15"/>
      <dgm:spPr/>
    </dgm:pt>
    <dgm:pt modelId="{7D6F7D0E-B01E-FB42-A3BD-6818AFA2FB03}" type="pres">
      <dgm:prSet presAssocID="{44FD66EA-4CE9-0D48-8AC1-AFA9DA5ACBB0}" presName="text4" presStyleLbl="fgAcc4" presStyleIdx="7" presStyleCnt="15">
        <dgm:presLayoutVars>
          <dgm:chPref val="3"/>
        </dgm:presLayoutVars>
      </dgm:prSet>
      <dgm:spPr/>
      <dgm:t>
        <a:bodyPr/>
        <a:lstStyle/>
        <a:p>
          <a:endParaRPr lang="en-US"/>
        </a:p>
      </dgm:t>
    </dgm:pt>
    <dgm:pt modelId="{3FC57618-184A-7F48-A58A-CDF10FB8BA42}" type="pres">
      <dgm:prSet presAssocID="{44FD66EA-4CE9-0D48-8AC1-AFA9DA5ACBB0}" presName="hierChild5" presStyleCnt="0"/>
      <dgm:spPr/>
    </dgm:pt>
    <dgm:pt modelId="{82D56584-4DE4-2B41-BB45-D27C2D0D7C89}" type="pres">
      <dgm:prSet presAssocID="{BE596E42-0D7C-0E48-BE53-AD094094DDC1}" presName="Name17" presStyleLbl="parChTrans1D3" presStyleIdx="1" presStyleCnt="4"/>
      <dgm:spPr/>
      <dgm:t>
        <a:bodyPr/>
        <a:lstStyle/>
        <a:p>
          <a:endParaRPr lang="en-US"/>
        </a:p>
      </dgm:t>
    </dgm:pt>
    <dgm:pt modelId="{AD793FE7-2BE3-7E46-BE96-7B0327AFE48F}" type="pres">
      <dgm:prSet presAssocID="{566B525C-06CE-5548-BA4E-7D4651190FD9}" presName="hierRoot3" presStyleCnt="0"/>
      <dgm:spPr/>
    </dgm:pt>
    <dgm:pt modelId="{7E53BD98-BBAA-314E-837E-6BF113542C53}" type="pres">
      <dgm:prSet presAssocID="{566B525C-06CE-5548-BA4E-7D4651190FD9}" presName="composite3" presStyleCnt="0"/>
      <dgm:spPr/>
    </dgm:pt>
    <dgm:pt modelId="{3EA70A61-6F59-D944-AFEC-31FD3879AAA5}" type="pres">
      <dgm:prSet presAssocID="{566B525C-06CE-5548-BA4E-7D4651190FD9}" presName="background3" presStyleLbl="node3" presStyleIdx="1" presStyleCnt="4"/>
      <dgm:spPr/>
    </dgm:pt>
    <dgm:pt modelId="{4C47A863-2038-DA40-9C8F-47D0AA28645C}" type="pres">
      <dgm:prSet presAssocID="{566B525C-06CE-5548-BA4E-7D4651190FD9}" presName="text3" presStyleLbl="fgAcc3" presStyleIdx="1" presStyleCnt="4">
        <dgm:presLayoutVars>
          <dgm:chPref val="3"/>
        </dgm:presLayoutVars>
      </dgm:prSet>
      <dgm:spPr/>
      <dgm:t>
        <a:bodyPr/>
        <a:lstStyle/>
        <a:p>
          <a:endParaRPr lang="en-US"/>
        </a:p>
      </dgm:t>
    </dgm:pt>
    <dgm:pt modelId="{C696C6F9-E30A-C147-A6CE-B00A50491147}" type="pres">
      <dgm:prSet presAssocID="{566B525C-06CE-5548-BA4E-7D4651190FD9}" presName="hierChild4" presStyleCnt="0"/>
      <dgm:spPr/>
    </dgm:pt>
    <dgm:pt modelId="{8C68C13E-CC89-004E-A397-664F9D880DCD}" type="pres">
      <dgm:prSet presAssocID="{9B20D1BA-44D1-804F-907F-1BAA95F41728}" presName="Name23" presStyleLbl="parChTrans1D4" presStyleIdx="8" presStyleCnt="15"/>
      <dgm:spPr/>
      <dgm:t>
        <a:bodyPr/>
        <a:lstStyle/>
        <a:p>
          <a:endParaRPr lang="en-US"/>
        </a:p>
      </dgm:t>
    </dgm:pt>
    <dgm:pt modelId="{14BDCDF3-797B-2E45-B535-2E80FFED5D8D}" type="pres">
      <dgm:prSet presAssocID="{E9CF75F3-1B29-E341-ABC6-147C1EF53E65}" presName="hierRoot4" presStyleCnt="0"/>
      <dgm:spPr/>
    </dgm:pt>
    <dgm:pt modelId="{5886A1B6-0DD6-5842-A5AB-C4EF48CA27FB}" type="pres">
      <dgm:prSet presAssocID="{E9CF75F3-1B29-E341-ABC6-147C1EF53E65}" presName="composite4" presStyleCnt="0"/>
      <dgm:spPr/>
    </dgm:pt>
    <dgm:pt modelId="{FFCD7AC3-EC92-7A4C-B100-EC7A762A97BB}" type="pres">
      <dgm:prSet presAssocID="{E9CF75F3-1B29-E341-ABC6-147C1EF53E65}" presName="background4" presStyleLbl="node4" presStyleIdx="8" presStyleCnt="15"/>
      <dgm:spPr/>
    </dgm:pt>
    <dgm:pt modelId="{A5A8B805-CFB0-1540-8140-7B65BF7B6D05}" type="pres">
      <dgm:prSet presAssocID="{E9CF75F3-1B29-E341-ABC6-147C1EF53E65}" presName="text4" presStyleLbl="fgAcc4" presStyleIdx="8" presStyleCnt="15">
        <dgm:presLayoutVars>
          <dgm:chPref val="3"/>
        </dgm:presLayoutVars>
      </dgm:prSet>
      <dgm:spPr/>
      <dgm:t>
        <a:bodyPr/>
        <a:lstStyle/>
        <a:p>
          <a:endParaRPr lang="en-US"/>
        </a:p>
      </dgm:t>
    </dgm:pt>
    <dgm:pt modelId="{A867DC6D-4696-C34F-A5AE-DA303F01B13D}" type="pres">
      <dgm:prSet presAssocID="{E9CF75F3-1B29-E341-ABC6-147C1EF53E65}" presName="hierChild5" presStyleCnt="0"/>
      <dgm:spPr/>
    </dgm:pt>
    <dgm:pt modelId="{C8002D36-F01C-7642-83C6-55AB7698BA05}" type="pres">
      <dgm:prSet presAssocID="{C9EB1202-5CCD-A544-B7EA-43AADDB7B914}" presName="Name23" presStyleLbl="parChTrans1D4" presStyleIdx="9" presStyleCnt="15"/>
      <dgm:spPr/>
      <dgm:t>
        <a:bodyPr/>
        <a:lstStyle/>
        <a:p>
          <a:endParaRPr lang="en-US"/>
        </a:p>
      </dgm:t>
    </dgm:pt>
    <dgm:pt modelId="{8C27E5C2-57AC-5643-89F1-D03129016424}" type="pres">
      <dgm:prSet presAssocID="{2EF173D6-BF65-554D-A9B9-3FDAFF34C0CA}" presName="hierRoot4" presStyleCnt="0"/>
      <dgm:spPr/>
    </dgm:pt>
    <dgm:pt modelId="{D7908E51-813D-1248-ABA6-49B498CB8637}" type="pres">
      <dgm:prSet presAssocID="{2EF173D6-BF65-554D-A9B9-3FDAFF34C0CA}" presName="composite4" presStyleCnt="0"/>
      <dgm:spPr/>
    </dgm:pt>
    <dgm:pt modelId="{42654FFB-2B2D-0E4F-A063-E7D6D73B053C}" type="pres">
      <dgm:prSet presAssocID="{2EF173D6-BF65-554D-A9B9-3FDAFF34C0CA}" presName="background4" presStyleLbl="node4" presStyleIdx="9" presStyleCnt="15"/>
      <dgm:spPr/>
    </dgm:pt>
    <dgm:pt modelId="{0D72A037-2733-4947-BB71-974F6546DC1B}" type="pres">
      <dgm:prSet presAssocID="{2EF173D6-BF65-554D-A9B9-3FDAFF34C0CA}" presName="text4" presStyleLbl="fgAcc4" presStyleIdx="9" presStyleCnt="15">
        <dgm:presLayoutVars>
          <dgm:chPref val="3"/>
        </dgm:presLayoutVars>
      </dgm:prSet>
      <dgm:spPr/>
      <dgm:t>
        <a:bodyPr/>
        <a:lstStyle/>
        <a:p>
          <a:endParaRPr lang="en-US"/>
        </a:p>
      </dgm:t>
    </dgm:pt>
    <dgm:pt modelId="{188CECAF-D58C-C144-AFF7-F7F43E75FDB8}" type="pres">
      <dgm:prSet presAssocID="{2EF173D6-BF65-554D-A9B9-3FDAFF34C0CA}" presName="hierChild5" presStyleCnt="0"/>
      <dgm:spPr/>
    </dgm:pt>
    <dgm:pt modelId="{4CD13650-B4C6-3C4C-BBA2-E36EB8E13A7E}" type="pres">
      <dgm:prSet presAssocID="{FB5D9003-A5E7-A84C-9FE6-6239428CE949}" presName="Name23" presStyleLbl="parChTrans1D4" presStyleIdx="10" presStyleCnt="15"/>
      <dgm:spPr/>
      <dgm:t>
        <a:bodyPr/>
        <a:lstStyle/>
        <a:p>
          <a:endParaRPr lang="en-US"/>
        </a:p>
      </dgm:t>
    </dgm:pt>
    <dgm:pt modelId="{73393B0D-C9BE-2A44-9887-27E7E5B84CBE}" type="pres">
      <dgm:prSet presAssocID="{7D0F0C25-BB2B-F74D-91E4-D075A4B817A5}" presName="hierRoot4" presStyleCnt="0"/>
      <dgm:spPr/>
    </dgm:pt>
    <dgm:pt modelId="{B35EFDCC-BC98-6B4B-BDCB-5511444C8845}" type="pres">
      <dgm:prSet presAssocID="{7D0F0C25-BB2B-F74D-91E4-D075A4B817A5}" presName="composite4" presStyleCnt="0"/>
      <dgm:spPr/>
    </dgm:pt>
    <dgm:pt modelId="{543187C5-C956-B148-91E3-051DF6B8A586}" type="pres">
      <dgm:prSet presAssocID="{7D0F0C25-BB2B-F74D-91E4-D075A4B817A5}" presName="background4" presStyleLbl="node4" presStyleIdx="10" presStyleCnt="15"/>
      <dgm:spPr/>
    </dgm:pt>
    <dgm:pt modelId="{662D4094-9DF5-FD4B-ADE8-58F40FCB0917}" type="pres">
      <dgm:prSet presAssocID="{7D0F0C25-BB2B-F74D-91E4-D075A4B817A5}" presName="text4" presStyleLbl="fgAcc4" presStyleIdx="10" presStyleCnt="15">
        <dgm:presLayoutVars>
          <dgm:chPref val="3"/>
        </dgm:presLayoutVars>
      </dgm:prSet>
      <dgm:spPr/>
      <dgm:t>
        <a:bodyPr/>
        <a:lstStyle/>
        <a:p>
          <a:endParaRPr lang="en-US"/>
        </a:p>
      </dgm:t>
    </dgm:pt>
    <dgm:pt modelId="{D05A02D6-A0D1-CC4B-82F4-9AC856943B65}" type="pres">
      <dgm:prSet presAssocID="{7D0F0C25-BB2B-F74D-91E4-D075A4B817A5}" presName="hierChild5" presStyleCnt="0"/>
      <dgm:spPr/>
    </dgm:pt>
    <dgm:pt modelId="{B6993CDB-5681-3245-8672-06E1F4C1D36D}" type="pres">
      <dgm:prSet presAssocID="{06778491-4684-D443-8AA7-720E49D9DD8F}" presName="Name10" presStyleLbl="parChTrans1D2" presStyleIdx="1" presStyleCnt="2"/>
      <dgm:spPr/>
      <dgm:t>
        <a:bodyPr/>
        <a:lstStyle/>
        <a:p>
          <a:endParaRPr lang="en-US"/>
        </a:p>
      </dgm:t>
    </dgm:pt>
    <dgm:pt modelId="{D0D293E1-3D5D-EA4C-8A8D-7CB164B1B692}" type="pres">
      <dgm:prSet presAssocID="{5B777C0A-7644-0C42-ADBF-D997F6D9F69E}" presName="hierRoot2" presStyleCnt="0"/>
      <dgm:spPr/>
    </dgm:pt>
    <dgm:pt modelId="{CC9EE8CD-2A04-6844-AAA7-F4B47ACF6E12}" type="pres">
      <dgm:prSet presAssocID="{5B777C0A-7644-0C42-ADBF-D997F6D9F69E}" presName="composite2" presStyleCnt="0"/>
      <dgm:spPr/>
    </dgm:pt>
    <dgm:pt modelId="{1A8DDA09-9DE4-CB4A-94F7-4CCB751D0D33}" type="pres">
      <dgm:prSet presAssocID="{5B777C0A-7644-0C42-ADBF-D997F6D9F69E}" presName="background2" presStyleLbl="node2" presStyleIdx="1" presStyleCnt="2"/>
      <dgm:spPr/>
    </dgm:pt>
    <dgm:pt modelId="{1EF0ACD0-581A-BB46-BB30-4DECC200D043}" type="pres">
      <dgm:prSet presAssocID="{5B777C0A-7644-0C42-ADBF-D997F6D9F69E}" presName="text2" presStyleLbl="fgAcc2" presStyleIdx="1" presStyleCnt="2">
        <dgm:presLayoutVars>
          <dgm:chPref val="3"/>
        </dgm:presLayoutVars>
      </dgm:prSet>
      <dgm:spPr/>
      <dgm:t>
        <a:bodyPr/>
        <a:lstStyle/>
        <a:p>
          <a:endParaRPr lang="en-US"/>
        </a:p>
      </dgm:t>
    </dgm:pt>
    <dgm:pt modelId="{EBCC04E2-81E6-B74F-89CB-0A7B3E08B4F2}" type="pres">
      <dgm:prSet presAssocID="{5B777C0A-7644-0C42-ADBF-D997F6D9F69E}" presName="hierChild3" presStyleCnt="0"/>
      <dgm:spPr/>
    </dgm:pt>
    <dgm:pt modelId="{001FF254-D6F9-AA42-94CA-634782CA6485}" type="pres">
      <dgm:prSet presAssocID="{C9EC741C-2CB3-2841-B170-68D84679E2F3}" presName="Name17" presStyleLbl="parChTrans1D3" presStyleIdx="2" presStyleCnt="4"/>
      <dgm:spPr/>
      <dgm:t>
        <a:bodyPr/>
        <a:lstStyle/>
        <a:p>
          <a:endParaRPr lang="en-US"/>
        </a:p>
      </dgm:t>
    </dgm:pt>
    <dgm:pt modelId="{7E3D9E5F-98EB-A445-8422-AF476F398C8C}" type="pres">
      <dgm:prSet presAssocID="{0FBF8549-FB85-B641-B591-83D0EE7EEDBB}" presName="hierRoot3" presStyleCnt="0"/>
      <dgm:spPr/>
    </dgm:pt>
    <dgm:pt modelId="{423F214E-E54E-E042-B1A3-DBF3C1354526}" type="pres">
      <dgm:prSet presAssocID="{0FBF8549-FB85-B641-B591-83D0EE7EEDBB}" presName="composite3" presStyleCnt="0"/>
      <dgm:spPr/>
    </dgm:pt>
    <dgm:pt modelId="{C1E2054E-D4E5-4642-AFA9-522AA906DAE6}" type="pres">
      <dgm:prSet presAssocID="{0FBF8549-FB85-B641-B591-83D0EE7EEDBB}" presName="background3" presStyleLbl="node3" presStyleIdx="2" presStyleCnt="4"/>
      <dgm:spPr/>
    </dgm:pt>
    <dgm:pt modelId="{ADA07F2A-559E-0E48-85E9-8060E81AFA96}" type="pres">
      <dgm:prSet presAssocID="{0FBF8549-FB85-B641-B591-83D0EE7EEDBB}" presName="text3" presStyleLbl="fgAcc3" presStyleIdx="2" presStyleCnt="4">
        <dgm:presLayoutVars>
          <dgm:chPref val="3"/>
        </dgm:presLayoutVars>
      </dgm:prSet>
      <dgm:spPr/>
      <dgm:t>
        <a:bodyPr/>
        <a:lstStyle/>
        <a:p>
          <a:endParaRPr lang="en-US"/>
        </a:p>
      </dgm:t>
    </dgm:pt>
    <dgm:pt modelId="{304C9A8E-040B-9B47-9E84-9F949C251625}" type="pres">
      <dgm:prSet presAssocID="{0FBF8549-FB85-B641-B591-83D0EE7EEDBB}" presName="hierChild4" presStyleCnt="0"/>
      <dgm:spPr/>
    </dgm:pt>
    <dgm:pt modelId="{AB848C3A-5362-BA47-B9A2-4426C7A0F8D8}" type="pres">
      <dgm:prSet presAssocID="{04D617C6-C465-8642-A7D0-E4583EF3BED3}" presName="Name17" presStyleLbl="parChTrans1D3" presStyleIdx="3" presStyleCnt="4"/>
      <dgm:spPr/>
      <dgm:t>
        <a:bodyPr/>
        <a:lstStyle/>
        <a:p>
          <a:endParaRPr lang="en-US"/>
        </a:p>
      </dgm:t>
    </dgm:pt>
    <dgm:pt modelId="{A8CFE2D5-EEB8-564A-9A91-0CB01859F775}" type="pres">
      <dgm:prSet presAssocID="{F027D2DE-19C7-E84E-838B-949D6CBF750D}" presName="hierRoot3" presStyleCnt="0"/>
      <dgm:spPr/>
    </dgm:pt>
    <dgm:pt modelId="{CB92A128-43C4-C540-9FBD-A925897EE327}" type="pres">
      <dgm:prSet presAssocID="{F027D2DE-19C7-E84E-838B-949D6CBF750D}" presName="composite3" presStyleCnt="0"/>
      <dgm:spPr/>
    </dgm:pt>
    <dgm:pt modelId="{4420C44E-8A93-E64C-9897-2D18FB8D5573}" type="pres">
      <dgm:prSet presAssocID="{F027D2DE-19C7-E84E-838B-949D6CBF750D}" presName="background3" presStyleLbl="node3" presStyleIdx="3" presStyleCnt="4"/>
      <dgm:spPr/>
    </dgm:pt>
    <dgm:pt modelId="{29FCCA85-D073-1B4C-A53E-7F466834416F}" type="pres">
      <dgm:prSet presAssocID="{F027D2DE-19C7-E84E-838B-949D6CBF750D}" presName="text3" presStyleLbl="fgAcc3" presStyleIdx="3" presStyleCnt="4">
        <dgm:presLayoutVars>
          <dgm:chPref val="3"/>
        </dgm:presLayoutVars>
      </dgm:prSet>
      <dgm:spPr/>
      <dgm:t>
        <a:bodyPr/>
        <a:lstStyle/>
        <a:p>
          <a:endParaRPr lang="en-US"/>
        </a:p>
      </dgm:t>
    </dgm:pt>
    <dgm:pt modelId="{4F63B1CA-4DF8-EC46-9523-25E08D431D0A}" type="pres">
      <dgm:prSet presAssocID="{F027D2DE-19C7-E84E-838B-949D6CBF750D}" presName="hierChild4" presStyleCnt="0"/>
      <dgm:spPr/>
    </dgm:pt>
    <dgm:pt modelId="{C53107F9-108B-C747-8148-5C86FCCC400E}" type="pres">
      <dgm:prSet presAssocID="{DF162AD3-D77E-D74E-9B62-533C1326075D}" presName="Name23" presStyleLbl="parChTrans1D4" presStyleIdx="11" presStyleCnt="15"/>
      <dgm:spPr/>
      <dgm:t>
        <a:bodyPr/>
        <a:lstStyle/>
        <a:p>
          <a:endParaRPr lang="en-US"/>
        </a:p>
      </dgm:t>
    </dgm:pt>
    <dgm:pt modelId="{3FA2123F-376F-0140-89AA-CF2317FD2ECE}" type="pres">
      <dgm:prSet presAssocID="{D02B59C3-D387-7A4B-B52C-14C38564C082}" presName="hierRoot4" presStyleCnt="0"/>
      <dgm:spPr/>
    </dgm:pt>
    <dgm:pt modelId="{74E3E3F7-E5D6-2040-A311-2229672641DC}" type="pres">
      <dgm:prSet presAssocID="{D02B59C3-D387-7A4B-B52C-14C38564C082}" presName="composite4" presStyleCnt="0"/>
      <dgm:spPr/>
    </dgm:pt>
    <dgm:pt modelId="{AC97531D-C695-DE4C-9346-9E3F6F79ECCD}" type="pres">
      <dgm:prSet presAssocID="{D02B59C3-D387-7A4B-B52C-14C38564C082}" presName="background4" presStyleLbl="node4" presStyleIdx="11" presStyleCnt="15"/>
      <dgm:spPr/>
    </dgm:pt>
    <dgm:pt modelId="{18BA5404-8A4C-0543-8495-BE6F0EDB2D38}" type="pres">
      <dgm:prSet presAssocID="{D02B59C3-D387-7A4B-B52C-14C38564C082}" presName="text4" presStyleLbl="fgAcc4" presStyleIdx="11" presStyleCnt="15">
        <dgm:presLayoutVars>
          <dgm:chPref val="3"/>
        </dgm:presLayoutVars>
      </dgm:prSet>
      <dgm:spPr/>
      <dgm:t>
        <a:bodyPr/>
        <a:lstStyle/>
        <a:p>
          <a:endParaRPr lang="en-US"/>
        </a:p>
      </dgm:t>
    </dgm:pt>
    <dgm:pt modelId="{C9BDD04F-B5E7-7440-9477-8111F53F1CBB}" type="pres">
      <dgm:prSet presAssocID="{D02B59C3-D387-7A4B-B52C-14C38564C082}" presName="hierChild5" presStyleCnt="0"/>
      <dgm:spPr/>
    </dgm:pt>
    <dgm:pt modelId="{698CEF23-F8E0-0D4D-ACF4-98690BBF4D39}" type="pres">
      <dgm:prSet presAssocID="{B401DFF8-5BF3-AC45-B641-616718C5F12C}" presName="Name23" presStyleLbl="parChTrans1D4" presStyleIdx="12" presStyleCnt="15"/>
      <dgm:spPr/>
      <dgm:t>
        <a:bodyPr/>
        <a:lstStyle/>
        <a:p>
          <a:endParaRPr lang="en-US"/>
        </a:p>
      </dgm:t>
    </dgm:pt>
    <dgm:pt modelId="{E8419B35-6BE9-9B48-97A4-EF1AAEC1248C}" type="pres">
      <dgm:prSet presAssocID="{1BF13664-9713-0342-BF6B-0647D551A138}" presName="hierRoot4" presStyleCnt="0"/>
      <dgm:spPr/>
    </dgm:pt>
    <dgm:pt modelId="{6D2DCECB-D92A-1F45-A6A4-AB799E5CB57A}" type="pres">
      <dgm:prSet presAssocID="{1BF13664-9713-0342-BF6B-0647D551A138}" presName="composite4" presStyleCnt="0"/>
      <dgm:spPr/>
    </dgm:pt>
    <dgm:pt modelId="{70B7711F-9386-FA42-A4C1-EC40FEFABB71}" type="pres">
      <dgm:prSet presAssocID="{1BF13664-9713-0342-BF6B-0647D551A138}" presName="background4" presStyleLbl="node4" presStyleIdx="12" presStyleCnt="15"/>
      <dgm:spPr/>
    </dgm:pt>
    <dgm:pt modelId="{9A78DE0A-1719-854E-A3E1-0CC35416E45B}" type="pres">
      <dgm:prSet presAssocID="{1BF13664-9713-0342-BF6B-0647D551A138}" presName="text4" presStyleLbl="fgAcc4" presStyleIdx="12" presStyleCnt="15">
        <dgm:presLayoutVars>
          <dgm:chPref val="3"/>
        </dgm:presLayoutVars>
      </dgm:prSet>
      <dgm:spPr/>
      <dgm:t>
        <a:bodyPr/>
        <a:lstStyle/>
        <a:p>
          <a:endParaRPr lang="en-US"/>
        </a:p>
      </dgm:t>
    </dgm:pt>
    <dgm:pt modelId="{7B252E75-BEA9-6642-AAA8-26134AB08D8F}" type="pres">
      <dgm:prSet presAssocID="{1BF13664-9713-0342-BF6B-0647D551A138}" presName="hierChild5" presStyleCnt="0"/>
      <dgm:spPr/>
    </dgm:pt>
    <dgm:pt modelId="{EDB17704-F688-6F40-96CD-1C8B40520C49}" type="pres">
      <dgm:prSet presAssocID="{BF438A0B-D888-3C4C-A5B8-884E978D0857}" presName="Name23" presStyleLbl="parChTrans1D4" presStyleIdx="13" presStyleCnt="15"/>
      <dgm:spPr/>
      <dgm:t>
        <a:bodyPr/>
        <a:lstStyle/>
        <a:p>
          <a:endParaRPr lang="en-US"/>
        </a:p>
      </dgm:t>
    </dgm:pt>
    <dgm:pt modelId="{7FE603FE-5173-8244-BC99-EF31641C852D}" type="pres">
      <dgm:prSet presAssocID="{EFE15CDF-F771-614A-A367-3CF9F782C2D2}" presName="hierRoot4" presStyleCnt="0"/>
      <dgm:spPr/>
    </dgm:pt>
    <dgm:pt modelId="{D146E929-35A7-7D49-9C4F-D6CD3DB92CC1}" type="pres">
      <dgm:prSet presAssocID="{EFE15CDF-F771-614A-A367-3CF9F782C2D2}" presName="composite4" presStyleCnt="0"/>
      <dgm:spPr/>
    </dgm:pt>
    <dgm:pt modelId="{7FE344C9-2CCE-4944-8EE7-A903E86E2CED}" type="pres">
      <dgm:prSet presAssocID="{EFE15CDF-F771-614A-A367-3CF9F782C2D2}" presName="background4" presStyleLbl="node4" presStyleIdx="13" presStyleCnt="15"/>
      <dgm:spPr/>
    </dgm:pt>
    <dgm:pt modelId="{28AF21C4-4B38-DA41-8F77-F470671682DF}" type="pres">
      <dgm:prSet presAssocID="{EFE15CDF-F771-614A-A367-3CF9F782C2D2}" presName="text4" presStyleLbl="fgAcc4" presStyleIdx="13" presStyleCnt="15">
        <dgm:presLayoutVars>
          <dgm:chPref val="3"/>
        </dgm:presLayoutVars>
      </dgm:prSet>
      <dgm:spPr/>
      <dgm:t>
        <a:bodyPr/>
        <a:lstStyle/>
        <a:p>
          <a:endParaRPr lang="en-US"/>
        </a:p>
      </dgm:t>
    </dgm:pt>
    <dgm:pt modelId="{D27383E5-913A-8240-B76E-95FE213C870D}" type="pres">
      <dgm:prSet presAssocID="{EFE15CDF-F771-614A-A367-3CF9F782C2D2}" presName="hierChild5" presStyleCnt="0"/>
      <dgm:spPr/>
    </dgm:pt>
    <dgm:pt modelId="{6984E382-9299-0B40-AFD8-558B5CC7605F}" type="pres">
      <dgm:prSet presAssocID="{5F5E8CAB-E048-BD47-B74B-5A68522CA1E3}" presName="Name23" presStyleLbl="parChTrans1D4" presStyleIdx="14" presStyleCnt="15"/>
      <dgm:spPr/>
      <dgm:t>
        <a:bodyPr/>
        <a:lstStyle/>
        <a:p>
          <a:endParaRPr lang="en-US"/>
        </a:p>
      </dgm:t>
    </dgm:pt>
    <dgm:pt modelId="{5710AEEC-46E1-B94F-82A0-58187949586A}" type="pres">
      <dgm:prSet presAssocID="{2EFD5CFA-74DC-7B43-8C7A-1582CD81048D}" presName="hierRoot4" presStyleCnt="0"/>
      <dgm:spPr/>
    </dgm:pt>
    <dgm:pt modelId="{891F9757-98B6-394F-ACDD-9F7FACFBE1A2}" type="pres">
      <dgm:prSet presAssocID="{2EFD5CFA-74DC-7B43-8C7A-1582CD81048D}" presName="composite4" presStyleCnt="0"/>
      <dgm:spPr/>
    </dgm:pt>
    <dgm:pt modelId="{0375F6D6-41DE-E742-BC2D-20958EEB1770}" type="pres">
      <dgm:prSet presAssocID="{2EFD5CFA-74DC-7B43-8C7A-1582CD81048D}" presName="background4" presStyleLbl="node4" presStyleIdx="14" presStyleCnt="15"/>
      <dgm:spPr/>
    </dgm:pt>
    <dgm:pt modelId="{147C7781-3C40-BA4D-8B11-34669AC2B9B7}" type="pres">
      <dgm:prSet presAssocID="{2EFD5CFA-74DC-7B43-8C7A-1582CD81048D}" presName="text4" presStyleLbl="fgAcc4" presStyleIdx="14" presStyleCnt="15">
        <dgm:presLayoutVars>
          <dgm:chPref val="3"/>
        </dgm:presLayoutVars>
      </dgm:prSet>
      <dgm:spPr/>
      <dgm:t>
        <a:bodyPr/>
        <a:lstStyle/>
        <a:p>
          <a:endParaRPr lang="en-US"/>
        </a:p>
      </dgm:t>
    </dgm:pt>
    <dgm:pt modelId="{FC88BE56-C5FC-E64D-8064-7B0D38549251}" type="pres">
      <dgm:prSet presAssocID="{2EFD5CFA-74DC-7B43-8C7A-1582CD81048D}" presName="hierChild5" presStyleCnt="0"/>
      <dgm:spPr/>
    </dgm:pt>
  </dgm:ptLst>
  <dgm:cxnLst>
    <dgm:cxn modelId="{B969419B-0E00-704B-AF03-F855A2C5775F}" srcId="{1ED59E78-E6AD-E640-9B08-B9E438BE60D7}" destId="{566B525C-06CE-5548-BA4E-7D4651190FD9}" srcOrd="1" destOrd="0" parTransId="{BE596E42-0D7C-0E48-BE53-AD094094DDC1}" sibTransId="{C6CED74D-B694-2D4F-9796-44FAD1CBCD52}"/>
    <dgm:cxn modelId="{F0470F1E-96C3-1C43-A9F5-95D36C540CF4}" type="presOf" srcId="{C9EC741C-2CB3-2841-B170-68D84679E2F3}" destId="{001FF254-D6F9-AA42-94CA-634782CA6485}" srcOrd="0" destOrd="0" presId="urn:microsoft.com/office/officeart/2005/8/layout/hierarchy1"/>
    <dgm:cxn modelId="{8B71ED53-865A-2344-B69F-A8074CAFEBAC}" srcId="{F027D2DE-19C7-E84E-838B-949D6CBF750D}" destId="{EFE15CDF-F771-614A-A367-3CF9F782C2D2}" srcOrd="1" destOrd="0" parTransId="{BF438A0B-D888-3C4C-A5B8-884E978D0857}" sibTransId="{794BAF61-B7DC-8644-B3A8-051627F6C9E4}"/>
    <dgm:cxn modelId="{912A11F7-DAC0-5D45-B97A-107752834BC3}" type="presOf" srcId="{FD2DC9C9-CCF8-6D47-A8AF-7E8440F609A2}" destId="{041119CE-361E-6D4A-9899-F5AB6B6B890A}" srcOrd="0" destOrd="0" presId="urn:microsoft.com/office/officeart/2005/8/layout/hierarchy1"/>
    <dgm:cxn modelId="{120D176A-6AF8-6C45-A929-53B1E31E4FED}" type="presOf" srcId="{1ED59E78-E6AD-E640-9B08-B9E438BE60D7}" destId="{67AFA7D4-3275-8D45-A7D7-C969748BDFF7}" srcOrd="0" destOrd="0" presId="urn:microsoft.com/office/officeart/2005/8/layout/hierarchy1"/>
    <dgm:cxn modelId="{DDD7AA42-2B4A-3042-8F5F-ADCE5C68750F}" type="presOf" srcId="{F850B780-DA87-864F-825A-184E7B41EB06}" destId="{EE995676-1CFC-0043-B160-9FF05CF1B80F}" srcOrd="0" destOrd="0" presId="urn:microsoft.com/office/officeart/2005/8/layout/hierarchy1"/>
    <dgm:cxn modelId="{121DFA9E-EA9C-7144-91A2-87F6B75EACF4}" type="presOf" srcId="{DF162AD3-D77E-D74E-9B62-533C1326075D}" destId="{C53107F9-108B-C747-8148-5C86FCCC400E}" srcOrd="0" destOrd="0" presId="urn:microsoft.com/office/officeart/2005/8/layout/hierarchy1"/>
    <dgm:cxn modelId="{0FC416A0-5AAE-5B4F-AAA0-561462D1813E}" type="presOf" srcId="{2D4C7867-E77A-3C4B-8039-737FC12F437C}" destId="{4FAAF5E5-DA10-6144-B3A8-A3DEBE590789}" srcOrd="0" destOrd="0" presId="urn:microsoft.com/office/officeart/2005/8/layout/hierarchy1"/>
    <dgm:cxn modelId="{83551761-58DE-C14B-959A-B05707631808}" srcId="{F0BFE2EF-58BF-E041-8DD7-59549EA0A9F8}" destId="{1ED59E78-E6AD-E640-9B08-B9E438BE60D7}" srcOrd="0" destOrd="0" parTransId="{1FA82A2E-E750-7A41-B459-789FFBEE241F}" sibTransId="{E1DDCE41-952C-3040-A230-18C5662B8B1C}"/>
    <dgm:cxn modelId="{EDB50EFE-3668-984B-BD23-F6F7E01E51D2}" srcId="{AD7C0CA3-95EB-0F48-B272-DF8C2E502540}" destId="{F850B780-DA87-864F-825A-184E7B41EB06}" srcOrd="0" destOrd="0" parTransId="{BB3DE6C4-EC5E-184C-8B89-5CFABD4A20CC}" sibTransId="{E7CB51C7-9AF5-1946-8A48-16D4EB6D3555}"/>
    <dgm:cxn modelId="{3CC33D8F-AAF5-8B46-987C-EF2F7FF760BB}" type="presOf" srcId="{46A63285-D7E4-9E46-99B0-7505469B9C27}" destId="{0E1CCE6F-EC87-F347-A32E-C126C906494E}" srcOrd="0" destOrd="0" presId="urn:microsoft.com/office/officeart/2005/8/layout/hierarchy1"/>
    <dgm:cxn modelId="{1187370A-2F7A-8946-A53C-C8636A921A76}" srcId="{FD2DC9C9-CCF8-6D47-A8AF-7E8440F609A2}" destId="{F0BFE2EF-58BF-E041-8DD7-59549EA0A9F8}" srcOrd="0" destOrd="0" parTransId="{7CA747A0-FF5E-9F42-B487-CB348B3FC867}" sibTransId="{F19B1372-2C31-634E-94BC-A9055A69D038}"/>
    <dgm:cxn modelId="{F873CF18-D4F5-9F44-B66A-592D7212DD19}" type="presOf" srcId="{2EF173D6-BF65-554D-A9B9-3FDAFF34C0CA}" destId="{0D72A037-2733-4947-BB71-974F6546DC1B}" srcOrd="0" destOrd="0" presId="urn:microsoft.com/office/officeart/2005/8/layout/hierarchy1"/>
    <dgm:cxn modelId="{6E4DF8D9-A551-A549-8CB3-39439C1455F9}" srcId="{566B525C-06CE-5548-BA4E-7D4651190FD9}" destId="{E9CF75F3-1B29-E341-ABC6-147C1EF53E65}" srcOrd="0" destOrd="0" parTransId="{9B20D1BA-44D1-804F-907F-1BAA95F41728}" sibTransId="{590C6301-66F8-F241-831E-E37F64F93873}"/>
    <dgm:cxn modelId="{D577BE65-06E4-0C42-8A08-30FF2729B3A0}" srcId="{1ED59E78-E6AD-E640-9B08-B9E438BE60D7}" destId="{46A63285-D7E4-9E46-99B0-7505469B9C27}" srcOrd="0" destOrd="0" parTransId="{61F29468-38F5-A440-8584-C577A88F6E8A}" sibTransId="{187838A6-9130-F54B-99E0-3D8A3CABA73C}"/>
    <dgm:cxn modelId="{F110F5B4-F632-5A4E-BE5A-7E8B474735F2}" type="presOf" srcId="{0FBF8549-FB85-B641-B591-83D0EE7EEDBB}" destId="{ADA07F2A-559E-0E48-85E9-8060E81AFA96}" srcOrd="0" destOrd="0" presId="urn:microsoft.com/office/officeart/2005/8/layout/hierarchy1"/>
    <dgm:cxn modelId="{42AA96D2-B21D-C541-98AF-F6115F2AA680}" type="presOf" srcId="{BE596E42-0D7C-0E48-BE53-AD094094DDC1}" destId="{82D56584-4DE4-2B41-BB45-D27C2D0D7C89}" srcOrd="0" destOrd="0" presId="urn:microsoft.com/office/officeart/2005/8/layout/hierarchy1"/>
    <dgm:cxn modelId="{54650256-C927-9F48-9A4C-79B67EC90C52}" type="presOf" srcId="{44FD66EA-4CE9-0D48-8AC1-AFA9DA5ACBB0}" destId="{7D6F7D0E-B01E-FB42-A3BD-6818AFA2FB03}" srcOrd="0" destOrd="0" presId="urn:microsoft.com/office/officeart/2005/8/layout/hierarchy1"/>
    <dgm:cxn modelId="{CE5B906A-6561-924C-ABFB-204BF4358DC3}" type="presOf" srcId="{8D278093-F0B0-0349-BFD0-6DE36641B0D9}" destId="{55661ECD-DF69-D142-928A-0D76D3F87296}" srcOrd="0" destOrd="0" presId="urn:microsoft.com/office/officeart/2005/8/layout/hierarchy1"/>
    <dgm:cxn modelId="{57F6D07E-A885-3A44-ABA4-3C7304B57664}" type="presOf" srcId="{61F29468-38F5-A440-8584-C577A88F6E8A}" destId="{789D0340-A1FD-D249-B71F-AFA3CFB92224}" srcOrd="0" destOrd="0" presId="urn:microsoft.com/office/officeart/2005/8/layout/hierarchy1"/>
    <dgm:cxn modelId="{4510C35F-AEA4-D749-9E1B-CA9BC91BF987}" type="presOf" srcId="{BF438A0B-D888-3C4C-A5B8-884E978D0857}" destId="{EDB17704-F688-6F40-96CD-1C8B40520C49}" srcOrd="0" destOrd="0" presId="urn:microsoft.com/office/officeart/2005/8/layout/hierarchy1"/>
    <dgm:cxn modelId="{BA443CBD-EF17-0A40-A240-D015D18FD4A3}" srcId="{E9CF75F3-1B29-E341-ABC6-147C1EF53E65}" destId="{2EF173D6-BF65-554D-A9B9-3FDAFF34C0CA}" srcOrd="0" destOrd="0" parTransId="{C9EB1202-5CCD-A544-B7EA-43AADDB7B914}" sibTransId="{E68EEE8D-293B-0C4A-B6DA-14F072BD687B}"/>
    <dgm:cxn modelId="{408E34C1-A677-8A44-86AB-41ADAAB78E29}" type="presOf" srcId="{AD7C0CA3-95EB-0F48-B272-DF8C2E502540}" destId="{5AD98322-5143-5E4F-9168-F622EE51B6C4}" srcOrd="0" destOrd="0" presId="urn:microsoft.com/office/officeart/2005/8/layout/hierarchy1"/>
    <dgm:cxn modelId="{F2D9D355-91D0-5C40-8789-5918B9C13691}" type="presOf" srcId="{F027D2DE-19C7-E84E-838B-949D6CBF750D}" destId="{29FCCA85-D073-1B4C-A53E-7F466834416F}" srcOrd="0" destOrd="0" presId="urn:microsoft.com/office/officeart/2005/8/layout/hierarchy1"/>
    <dgm:cxn modelId="{800EFBEF-36B9-E54E-9342-111EBAC12C2B}" type="presOf" srcId="{C598D08E-162F-DB4F-A24D-6B5281CF3207}" destId="{6F1C2531-F6D7-554C-B237-64585FB09384}" srcOrd="0" destOrd="0" presId="urn:microsoft.com/office/officeart/2005/8/layout/hierarchy1"/>
    <dgm:cxn modelId="{E277E198-4C72-C340-8CAD-38DF8FFA1E8E}" type="presOf" srcId="{BB3DE6C4-EC5E-184C-8B89-5CFABD4A20CC}" destId="{6AEA2299-4ADF-4445-BBFB-696B6A613788}" srcOrd="0" destOrd="0" presId="urn:microsoft.com/office/officeart/2005/8/layout/hierarchy1"/>
    <dgm:cxn modelId="{8513EEDB-95A3-6E48-B896-AA4D1FA0A4E0}" type="presOf" srcId="{9B20D1BA-44D1-804F-907F-1BAA95F41728}" destId="{8C68C13E-CC89-004E-A397-664F9D880DCD}" srcOrd="0" destOrd="0" presId="urn:microsoft.com/office/officeart/2005/8/layout/hierarchy1"/>
    <dgm:cxn modelId="{04FD0793-125F-5A47-8B16-6050CDB4A5BC}" srcId="{B9B4B99D-CB32-D54E-A379-B89AF5BED9B0}" destId="{93FB23B8-1A9C-4C4A-8689-381C7447498D}" srcOrd="2" destOrd="0" parTransId="{C598D08E-162F-DB4F-A24D-6B5281CF3207}" sibTransId="{A994F214-9883-0943-998F-7F9D62AFC602}"/>
    <dgm:cxn modelId="{05591308-029A-094B-8B1D-83D2DEBBA8DB}" type="presOf" srcId="{C3214348-96F5-E846-AC73-A71547C1F830}" destId="{1BA4DB5B-0F72-224A-AC4B-AF406EE29299}" srcOrd="0" destOrd="0" presId="urn:microsoft.com/office/officeart/2005/8/layout/hierarchy1"/>
    <dgm:cxn modelId="{44C02284-7E0D-4243-A320-AAEDB1C63EBC}" type="presOf" srcId="{93FB23B8-1A9C-4C4A-8689-381C7447498D}" destId="{0B265071-9F45-8749-8527-68F0D6A02E86}" srcOrd="0" destOrd="0" presId="urn:microsoft.com/office/officeart/2005/8/layout/hierarchy1"/>
    <dgm:cxn modelId="{AF060ADF-3617-6E4F-9EC0-E243BF53B19C}" srcId="{5B777C0A-7644-0C42-ADBF-D997F6D9F69E}" destId="{F027D2DE-19C7-E84E-838B-949D6CBF750D}" srcOrd="1" destOrd="0" parTransId="{04D617C6-C465-8642-A7D0-E4583EF3BED3}" sibTransId="{94598184-CD2E-D749-9FC1-61AF265048FB}"/>
    <dgm:cxn modelId="{3451C6DC-0AE5-1D48-8836-D51551584566}" srcId="{B9B4B99D-CB32-D54E-A379-B89AF5BED9B0}" destId="{AD7C0CA3-95EB-0F48-B272-DF8C2E502540}" srcOrd="1" destOrd="0" parTransId="{12697B9F-EAD1-BF42-B95E-0F6DCE254105}" sibTransId="{47317FB5-FC0E-7244-AA4D-D5EF36962137}"/>
    <dgm:cxn modelId="{71B2A4BE-A8E2-D548-9723-28EBD1B28EDF}" srcId="{AD7C0CA3-95EB-0F48-B272-DF8C2E502540}" destId="{44B48ADB-EBEF-FD4B-BF66-FAB9185BF126}" srcOrd="1" destOrd="0" parTransId="{09EDD876-B048-0545-B254-04BC89902D4E}" sibTransId="{3386F023-9181-754A-A6B1-5F508F7E0367}"/>
    <dgm:cxn modelId="{82D5F2AA-8A37-CD42-9026-77F37069C4CD}" srcId="{D02B59C3-D387-7A4B-B52C-14C38564C082}" destId="{1BF13664-9713-0342-BF6B-0647D551A138}" srcOrd="0" destOrd="0" parTransId="{B401DFF8-5BF3-AC45-B641-616718C5F12C}" sibTransId="{266DF4DF-A330-7945-8A94-8A7660723381}"/>
    <dgm:cxn modelId="{27CCB235-DF75-8145-BC4F-AFAC0468AAA1}" type="presOf" srcId="{B401DFF8-5BF3-AC45-B641-616718C5F12C}" destId="{698CEF23-F8E0-0D4D-ACF4-98690BBF4D39}" srcOrd="0" destOrd="0" presId="urn:microsoft.com/office/officeart/2005/8/layout/hierarchy1"/>
    <dgm:cxn modelId="{450C76A8-CA4E-3B43-8D56-7D741618D1D2}" type="presOf" srcId="{44B48ADB-EBEF-FD4B-BF66-FAB9185BF126}" destId="{BF5EB84A-A376-CC48-80A8-02D921FA679D}" srcOrd="0" destOrd="0" presId="urn:microsoft.com/office/officeart/2005/8/layout/hierarchy1"/>
    <dgm:cxn modelId="{D84213AA-D7B8-9146-BD74-84423D71779A}" type="presOf" srcId="{1FA82A2E-E750-7A41-B459-789FFBEE241F}" destId="{B496F004-25AB-E840-85D2-E92B0B529DCC}" srcOrd="0" destOrd="0" presId="urn:microsoft.com/office/officeart/2005/8/layout/hierarchy1"/>
    <dgm:cxn modelId="{239218D4-356F-2C4C-809A-7AA14EB8F0A2}" srcId="{F027D2DE-19C7-E84E-838B-949D6CBF750D}" destId="{D02B59C3-D387-7A4B-B52C-14C38564C082}" srcOrd="0" destOrd="0" parTransId="{DF162AD3-D77E-D74E-9B62-533C1326075D}" sibTransId="{9C9002AC-DA8F-C34B-BD1D-FBEE194EAC8C}"/>
    <dgm:cxn modelId="{7E242E5E-D8FA-D242-B544-E53E4BD0A55F}" srcId="{5B777C0A-7644-0C42-ADBF-D997F6D9F69E}" destId="{0FBF8549-FB85-B641-B591-83D0EE7EEDBB}" srcOrd="0" destOrd="0" parTransId="{C9EC741C-2CB3-2841-B170-68D84679E2F3}" sibTransId="{22D72F94-BE06-594C-AE24-C1A00D626B5B}"/>
    <dgm:cxn modelId="{E1498503-7CD3-754F-8DE3-6B145B392B11}" type="presOf" srcId="{04D617C6-C465-8642-A7D0-E4583EF3BED3}" destId="{AB848C3A-5362-BA47-B9A2-4426C7A0F8D8}" srcOrd="0" destOrd="0" presId="urn:microsoft.com/office/officeart/2005/8/layout/hierarchy1"/>
    <dgm:cxn modelId="{29703FF3-0FDF-F345-AC9B-E3FEADF713C7}" srcId="{46A63285-D7E4-9E46-99B0-7505469B9C27}" destId="{44FD66EA-4CE9-0D48-8AC1-AFA9DA5ACBB0}" srcOrd="1" destOrd="0" parTransId="{C3214348-96F5-E846-AC73-A71547C1F830}" sibTransId="{9F8B30B0-06D8-1844-A54C-DC086B6ECC08}"/>
    <dgm:cxn modelId="{C3CBFBB5-428B-604D-96E9-097D8736A523}" type="presOf" srcId="{5F5E8CAB-E048-BD47-B74B-5A68522CA1E3}" destId="{6984E382-9299-0B40-AFD8-558B5CC7605F}" srcOrd="0" destOrd="0" presId="urn:microsoft.com/office/officeart/2005/8/layout/hierarchy1"/>
    <dgm:cxn modelId="{A5AE9AA9-EFFC-DF45-9C14-228E38B33A59}" type="presOf" srcId="{F0BFE2EF-58BF-E041-8DD7-59549EA0A9F8}" destId="{925884AF-7E3A-434B-9DC8-A726CF728958}" srcOrd="0" destOrd="0" presId="urn:microsoft.com/office/officeart/2005/8/layout/hierarchy1"/>
    <dgm:cxn modelId="{36255D71-D876-1447-BD93-553C28C5ECB2}" type="presOf" srcId="{7D0F0C25-BB2B-F74D-91E4-D075A4B817A5}" destId="{662D4094-9DF5-FD4B-ADE8-58F40FCB0917}" srcOrd="0" destOrd="0" presId="urn:microsoft.com/office/officeart/2005/8/layout/hierarchy1"/>
    <dgm:cxn modelId="{1BFEEEC2-848E-B743-945D-F0A396A11F1A}" type="presOf" srcId="{EFE15CDF-F771-614A-A367-3CF9F782C2D2}" destId="{28AF21C4-4B38-DA41-8F77-F470671682DF}" srcOrd="0" destOrd="0" presId="urn:microsoft.com/office/officeart/2005/8/layout/hierarchy1"/>
    <dgm:cxn modelId="{6856A0F5-8848-CE49-B91B-0FD62C30AD35}" srcId="{2D4C7867-E77A-3C4B-8039-737FC12F437C}" destId="{D562BF9F-FB69-A040-8E2A-B0CACEFD918F}" srcOrd="0" destOrd="0" parTransId="{8D278093-F0B0-0349-BFD0-6DE36641B0D9}" sibTransId="{D81E7FC4-4D77-3940-81B5-8AADB2F7EC06}"/>
    <dgm:cxn modelId="{2C2563A3-E45B-1545-90FF-8FAFFDEDE485}" srcId="{B9B4B99D-CB32-D54E-A379-B89AF5BED9B0}" destId="{2D4C7867-E77A-3C4B-8039-737FC12F437C}" srcOrd="0" destOrd="0" parTransId="{C7DDA6DE-6810-1440-9BE3-F86F01EF381B}" sibTransId="{397ED489-CEF7-5146-8D35-8C1141D75A93}"/>
    <dgm:cxn modelId="{D2E19BD4-AD5F-804E-99A8-9D4F4F561216}" type="presOf" srcId="{B9B4B99D-CB32-D54E-A379-B89AF5BED9B0}" destId="{9D00CA24-03DA-804B-B981-B9B341CAAAA9}" srcOrd="0" destOrd="0" presId="urn:microsoft.com/office/officeart/2005/8/layout/hierarchy1"/>
    <dgm:cxn modelId="{D397D1D9-D1CA-EC4A-9AC5-C0F4649B4D09}" type="presOf" srcId="{09EDD876-B048-0545-B254-04BC89902D4E}" destId="{FE3605E3-5F76-1245-94CF-3B8BF0D125AC}" srcOrd="0" destOrd="0" presId="urn:microsoft.com/office/officeart/2005/8/layout/hierarchy1"/>
    <dgm:cxn modelId="{17FC4541-4622-E449-B9D0-C4C501B39729}" type="presOf" srcId="{5B777C0A-7644-0C42-ADBF-D997F6D9F69E}" destId="{1EF0ACD0-581A-BB46-BB30-4DECC200D043}" srcOrd="0" destOrd="0" presId="urn:microsoft.com/office/officeart/2005/8/layout/hierarchy1"/>
    <dgm:cxn modelId="{9C153CA0-8F2F-4349-8507-D2A848DEC129}" type="presOf" srcId="{C9EB1202-5CCD-A544-B7EA-43AADDB7B914}" destId="{C8002D36-F01C-7642-83C6-55AB7698BA05}" srcOrd="0" destOrd="0" presId="urn:microsoft.com/office/officeart/2005/8/layout/hierarchy1"/>
    <dgm:cxn modelId="{5F40EAEE-C9FF-4F4B-9FD1-85DF6233CE16}" type="presOf" srcId="{566B525C-06CE-5548-BA4E-7D4651190FD9}" destId="{4C47A863-2038-DA40-9C8F-47D0AA28645C}" srcOrd="0" destOrd="0" presId="urn:microsoft.com/office/officeart/2005/8/layout/hierarchy1"/>
    <dgm:cxn modelId="{54B5BD1F-974D-0A40-B221-149D9783179F}" type="presOf" srcId="{1BF13664-9713-0342-BF6B-0647D551A138}" destId="{9A78DE0A-1719-854E-A3E1-0CC35416E45B}" srcOrd="0" destOrd="0" presId="urn:microsoft.com/office/officeart/2005/8/layout/hierarchy1"/>
    <dgm:cxn modelId="{EB5ADF08-D76A-AA40-BDED-E4FA8AFC6181}" type="presOf" srcId="{C7DDA6DE-6810-1440-9BE3-F86F01EF381B}" destId="{576507F5-3EC0-BF4B-B91C-D7024877CAF5}" srcOrd="0" destOrd="0" presId="urn:microsoft.com/office/officeart/2005/8/layout/hierarchy1"/>
    <dgm:cxn modelId="{4D28812A-B3E0-2745-9EE0-BC9F752F4203}" type="presOf" srcId="{06778491-4684-D443-8AA7-720E49D9DD8F}" destId="{B6993CDB-5681-3245-8672-06E1F4C1D36D}" srcOrd="0" destOrd="0" presId="urn:microsoft.com/office/officeart/2005/8/layout/hierarchy1"/>
    <dgm:cxn modelId="{C478280E-8D91-504D-8948-EB79EE642436}" srcId="{EFE15CDF-F771-614A-A367-3CF9F782C2D2}" destId="{2EFD5CFA-74DC-7B43-8C7A-1582CD81048D}" srcOrd="0" destOrd="0" parTransId="{5F5E8CAB-E048-BD47-B74B-5A68522CA1E3}" sibTransId="{67A3780A-9865-E843-AD66-87A967043BF5}"/>
    <dgm:cxn modelId="{B37B9420-0DE1-FE49-AAFD-17AFB4C00490}" type="presOf" srcId="{D02B59C3-D387-7A4B-B52C-14C38564C082}" destId="{18BA5404-8A4C-0543-8495-BE6F0EDB2D38}" srcOrd="0" destOrd="0" presId="urn:microsoft.com/office/officeart/2005/8/layout/hierarchy1"/>
    <dgm:cxn modelId="{C5736232-3373-D34F-9DDE-719D3BD2CDC2}" type="presOf" srcId="{EDF1D375-7B10-7E49-AC6B-82B302F58596}" destId="{C6024449-76EB-AE45-A483-20C84E555523}" srcOrd="0" destOrd="0" presId="urn:microsoft.com/office/officeart/2005/8/layout/hierarchy1"/>
    <dgm:cxn modelId="{E44834B4-EC0C-664B-A9A3-24DACB53D730}" srcId="{F0BFE2EF-58BF-E041-8DD7-59549EA0A9F8}" destId="{5B777C0A-7644-0C42-ADBF-D997F6D9F69E}" srcOrd="1" destOrd="0" parTransId="{06778491-4684-D443-8AA7-720E49D9DD8F}" sibTransId="{3D9A3198-2517-D249-B3DB-48331BD84D07}"/>
    <dgm:cxn modelId="{BF6E034C-BDCE-8C4E-B687-5C9F1781845E}" type="presOf" srcId="{E9CF75F3-1B29-E341-ABC6-147C1EF53E65}" destId="{A5A8B805-CFB0-1540-8140-7B65BF7B6D05}" srcOrd="0" destOrd="0" presId="urn:microsoft.com/office/officeart/2005/8/layout/hierarchy1"/>
    <dgm:cxn modelId="{E0CC617B-ED4D-8E44-A6FE-056F4F57E862}" srcId="{46A63285-D7E4-9E46-99B0-7505469B9C27}" destId="{B9B4B99D-CB32-D54E-A379-B89AF5BED9B0}" srcOrd="0" destOrd="0" parTransId="{EDF1D375-7B10-7E49-AC6B-82B302F58596}" sibTransId="{82EE4F3A-328F-694A-9AC5-53B3B3019FE8}"/>
    <dgm:cxn modelId="{1B95C700-BDFE-944A-8130-A1F414DDCE4B}" type="presOf" srcId="{FB5D9003-A5E7-A84C-9FE6-6239428CE949}" destId="{4CD13650-B4C6-3C4C-BBA2-E36EB8E13A7E}" srcOrd="0" destOrd="0" presId="urn:microsoft.com/office/officeart/2005/8/layout/hierarchy1"/>
    <dgm:cxn modelId="{5A2E39B8-CEFB-D449-A9D5-A7B2F16EB462}" type="presOf" srcId="{12697B9F-EAD1-BF42-B95E-0F6DCE254105}" destId="{3857BD89-200E-B442-9678-6A04F58E556C}" srcOrd="0" destOrd="0" presId="urn:microsoft.com/office/officeart/2005/8/layout/hierarchy1"/>
    <dgm:cxn modelId="{225CF06D-2842-804D-8878-E8D9C8005469}" srcId="{566B525C-06CE-5548-BA4E-7D4651190FD9}" destId="{7D0F0C25-BB2B-F74D-91E4-D075A4B817A5}" srcOrd="1" destOrd="0" parTransId="{FB5D9003-A5E7-A84C-9FE6-6239428CE949}" sibTransId="{91375396-BF6D-5649-A5AC-E8C04D49BADA}"/>
    <dgm:cxn modelId="{87ACC699-3864-664A-AA2B-A276E035997E}" type="presOf" srcId="{D562BF9F-FB69-A040-8E2A-B0CACEFD918F}" destId="{AB0DA436-81BC-584E-AD13-0C28DDB23613}" srcOrd="0" destOrd="0" presId="urn:microsoft.com/office/officeart/2005/8/layout/hierarchy1"/>
    <dgm:cxn modelId="{D32BA0F6-A79B-BC48-BBDB-8F1DA8A99453}" type="presOf" srcId="{2EFD5CFA-74DC-7B43-8C7A-1582CD81048D}" destId="{147C7781-3C40-BA4D-8B11-34669AC2B9B7}" srcOrd="0" destOrd="0" presId="urn:microsoft.com/office/officeart/2005/8/layout/hierarchy1"/>
    <dgm:cxn modelId="{EE26D231-730A-6A47-B4A5-D1DDC81F475E}" type="presParOf" srcId="{041119CE-361E-6D4A-9899-F5AB6B6B890A}" destId="{F5583FF7-8D99-E146-9B45-FE375BBF3057}" srcOrd="0" destOrd="0" presId="urn:microsoft.com/office/officeart/2005/8/layout/hierarchy1"/>
    <dgm:cxn modelId="{B48F45F8-2C00-E64C-AB90-E80C615199EB}" type="presParOf" srcId="{F5583FF7-8D99-E146-9B45-FE375BBF3057}" destId="{78FDE102-464B-EA4C-A0CA-A23E8F3B35BD}" srcOrd="0" destOrd="0" presId="urn:microsoft.com/office/officeart/2005/8/layout/hierarchy1"/>
    <dgm:cxn modelId="{87CC5986-E6CC-DB42-AAA9-FB3CC75099F7}" type="presParOf" srcId="{78FDE102-464B-EA4C-A0CA-A23E8F3B35BD}" destId="{0E8A4AC7-A528-6245-B58B-C57BCA9D2ACF}" srcOrd="0" destOrd="0" presId="urn:microsoft.com/office/officeart/2005/8/layout/hierarchy1"/>
    <dgm:cxn modelId="{F7BB9055-E692-7745-935B-D0F0CC88232A}" type="presParOf" srcId="{78FDE102-464B-EA4C-A0CA-A23E8F3B35BD}" destId="{925884AF-7E3A-434B-9DC8-A726CF728958}" srcOrd="1" destOrd="0" presId="urn:microsoft.com/office/officeart/2005/8/layout/hierarchy1"/>
    <dgm:cxn modelId="{685E4A75-79BA-E74C-98FB-BDD1B8E3722E}" type="presParOf" srcId="{F5583FF7-8D99-E146-9B45-FE375BBF3057}" destId="{6DE7C0D3-9B6F-1447-AD1E-950174683400}" srcOrd="1" destOrd="0" presId="urn:microsoft.com/office/officeart/2005/8/layout/hierarchy1"/>
    <dgm:cxn modelId="{3E176A9A-3B38-E842-817F-C1462EC71BCB}" type="presParOf" srcId="{6DE7C0D3-9B6F-1447-AD1E-950174683400}" destId="{B496F004-25AB-E840-85D2-E92B0B529DCC}" srcOrd="0" destOrd="0" presId="urn:microsoft.com/office/officeart/2005/8/layout/hierarchy1"/>
    <dgm:cxn modelId="{FD718CF7-6960-DA4A-A644-4B3307094B55}" type="presParOf" srcId="{6DE7C0D3-9B6F-1447-AD1E-950174683400}" destId="{6D6C7070-4E3D-C147-ADEB-01CB088A56D9}" srcOrd="1" destOrd="0" presId="urn:microsoft.com/office/officeart/2005/8/layout/hierarchy1"/>
    <dgm:cxn modelId="{20E414F3-AB6F-2142-B37D-A1F0D2FF09A6}" type="presParOf" srcId="{6D6C7070-4E3D-C147-ADEB-01CB088A56D9}" destId="{90BEC5D6-43D1-AF45-A4F0-9F055C808A18}" srcOrd="0" destOrd="0" presId="urn:microsoft.com/office/officeart/2005/8/layout/hierarchy1"/>
    <dgm:cxn modelId="{5CE57D3D-02AC-F545-91E1-A0FA37E3DF7D}" type="presParOf" srcId="{90BEC5D6-43D1-AF45-A4F0-9F055C808A18}" destId="{E2EECA00-B4E4-9C45-B41E-AC20FDDE8AEB}" srcOrd="0" destOrd="0" presId="urn:microsoft.com/office/officeart/2005/8/layout/hierarchy1"/>
    <dgm:cxn modelId="{8301175A-8EE8-3F4D-8BA7-777EC251DDED}" type="presParOf" srcId="{90BEC5D6-43D1-AF45-A4F0-9F055C808A18}" destId="{67AFA7D4-3275-8D45-A7D7-C969748BDFF7}" srcOrd="1" destOrd="0" presId="urn:microsoft.com/office/officeart/2005/8/layout/hierarchy1"/>
    <dgm:cxn modelId="{1F2B7C0D-EF6C-314C-B16B-761CEF46D7D3}" type="presParOf" srcId="{6D6C7070-4E3D-C147-ADEB-01CB088A56D9}" destId="{87F836AB-8342-E646-9FC3-5A43747BF671}" srcOrd="1" destOrd="0" presId="urn:microsoft.com/office/officeart/2005/8/layout/hierarchy1"/>
    <dgm:cxn modelId="{C4FA0E65-B2DC-FA41-9B5A-AEEE2CA89F58}" type="presParOf" srcId="{87F836AB-8342-E646-9FC3-5A43747BF671}" destId="{789D0340-A1FD-D249-B71F-AFA3CFB92224}" srcOrd="0" destOrd="0" presId="urn:microsoft.com/office/officeart/2005/8/layout/hierarchy1"/>
    <dgm:cxn modelId="{684065BD-5B09-104C-822E-87C524928DE6}" type="presParOf" srcId="{87F836AB-8342-E646-9FC3-5A43747BF671}" destId="{5DA16B8B-0898-234B-84F7-6CC9E0365EE4}" srcOrd="1" destOrd="0" presId="urn:microsoft.com/office/officeart/2005/8/layout/hierarchy1"/>
    <dgm:cxn modelId="{A4CF019F-38F7-1843-B6D7-78B32B860F14}" type="presParOf" srcId="{5DA16B8B-0898-234B-84F7-6CC9E0365EE4}" destId="{4AC0ECC1-BB61-0045-B371-3B600408D3F0}" srcOrd="0" destOrd="0" presId="urn:microsoft.com/office/officeart/2005/8/layout/hierarchy1"/>
    <dgm:cxn modelId="{D072C3B3-D93E-4D43-A037-A2A4415AFCCB}" type="presParOf" srcId="{4AC0ECC1-BB61-0045-B371-3B600408D3F0}" destId="{DD645192-9AF5-7044-B0C5-A4131BD01FB3}" srcOrd="0" destOrd="0" presId="urn:microsoft.com/office/officeart/2005/8/layout/hierarchy1"/>
    <dgm:cxn modelId="{836DAA7E-1812-2740-B53B-27D4304A945E}" type="presParOf" srcId="{4AC0ECC1-BB61-0045-B371-3B600408D3F0}" destId="{0E1CCE6F-EC87-F347-A32E-C126C906494E}" srcOrd="1" destOrd="0" presId="urn:microsoft.com/office/officeart/2005/8/layout/hierarchy1"/>
    <dgm:cxn modelId="{A5F6BCB7-712B-284C-93DA-7B6D3E3C8C3E}" type="presParOf" srcId="{5DA16B8B-0898-234B-84F7-6CC9E0365EE4}" destId="{125AF0C6-F73E-524E-92D0-32A9276A90FD}" srcOrd="1" destOrd="0" presId="urn:microsoft.com/office/officeart/2005/8/layout/hierarchy1"/>
    <dgm:cxn modelId="{49CEC06C-0831-5149-B64E-0A3B6A2C3A46}" type="presParOf" srcId="{125AF0C6-F73E-524E-92D0-32A9276A90FD}" destId="{C6024449-76EB-AE45-A483-20C84E555523}" srcOrd="0" destOrd="0" presId="urn:microsoft.com/office/officeart/2005/8/layout/hierarchy1"/>
    <dgm:cxn modelId="{6E74E8ED-670F-A946-9699-1C9DBE95924B}" type="presParOf" srcId="{125AF0C6-F73E-524E-92D0-32A9276A90FD}" destId="{86E8A377-92D2-6045-8C43-687F00923DD0}" srcOrd="1" destOrd="0" presId="urn:microsoft.com/office/officeart/2005/8/layout/hierarchy1"/>
    <dgm:cxn modelId="{F595CA6A-1618-0942-83C5-9CE7E677D1C2}" type="presParOf" srcId="{86E8A377-92D2-6045-8C43-687F00923DD0}" destId="{01B27C7B-84AF-BD4A-9D21-02EA4CA37DEB}" srcOrd="0" destOrd="0" presId="urn:microsoft.com/office/officeart/2005/8/layout/hierarchy1"/>
    <dgm:cxn modelId="{8DBB93D7-CAEE-3745-AF3A-B629D0AC06D9}" type="presParOf" srcId="{01B27C7B-84AF-BD4A-9D21-02EA4CA37DEB}" destId="{A17C5C36-4705-0845-835E-17463B160846}" srcOrd="0" destOrd="0" presId="urn:microsoft.com/office/officeart/2005/8/layout/hierarchy1"/>
    <dgm:cxn modelId="{98243532-B235-8C4F-BD49-170D297A851E}" type="presParOf" srcId="{01B27C7B-84AF-BD4A-9D21-02EA4CA37DEB}" destId="{9D00CA24-03DA-804B-B981-B9B341CAAAA9}" srcOrd="1" destOrd="0" presId="urn:microsoft.com/office/officeart/2005/8/layout/hierarchy1"/>
    <dgm:cxn modelId="{9314B362-3E0F-F948-8635-C796B93517B0}" type="presParOf" srcId="{86E8A377-92D2-6045-8C43-687F00923DD0}" destId="{E6AAC162-B6FF-3545-BAE9-4B9A05CD2270}" srcOrd="1" destOrd="0" presId="urn:microsoft.com/office/officeart/2005/8/layout/hierarchy1"/>
    <dgm:cxn modelId="{E86D9BDF-9C9D-A34B-920B-714BF6434889}" type="presParOf" srcId="{E6AAC162-B6FF-3545-BAE9-4B9A05CD2270}" destId="{576507F5-3EC0-BF4B-B91C-D7024877CAF5}" srcOrd="0" destOrd="0" presId="urn:microsoft.com/office/officeart/2005/8/layout/hierarchy1"/>
    <dgm:cxn modelId="{497EAD14-AE9E-9945-9649-83333388698B}" type="presParOf" srcId="{E6AAC162-B6FF-3545-BAE9-4B9A05CD2270}" destId="{6C81B437-454C-CE40-9EAB-28922171ECF4}" srcOrd="1" destOrd="0" presId="urn:microsoft.com/office/officeart/2005/8/layout/hierarchy1"/>
    <dgm:cxn modelId="{B4C47A32-5B19-EF4E-908E-19210511002F}" type="presParOf" srcId="{6C81B437-454C-CE40-9EAB-28922171ECF4}" destId="{B650BC0A-B6B0-ED4B-AF43-E02FBA5E8437}" srcOrd="0" destOrd="0" presId="urn:microsoft.com/office/officeart/2005/8/layout/hierarchy1"/>
    <dgm:cxn modelId="{0FDBFF16-9D38-6D47-B3BF-E75EB196E226}" type="presParOf" srcId="{B650BC0A-B6B0-ED4B-AF43-E02FBA5E8437}" destId="{35427254-1587-2E45-83F6-073984408973}" srcOrd="0" destOrd="0" presId="urn:microsoft.com/office/officeart/2005/8/layout/hierarchy1"/>
    <dgm:cxn modelId="{7C27BC56-F489-C44C-8DD8-633C74865C0D}" type="presParOf" srcId="{B650BC0A-B6B0-ED4B-AF43-E02FBA5E8437}" destId="{4FAAF5E5-DA10-6144-B3A8-A3DEBE590789}" srcOrd="1" destOrd="0" presId="urn:microsoft.com/office/officeart/2005/8/layout/hierarchy1"/>
    <dgm:cxn modelId="{267C43B1-BA0A-704F-BC62-7B7EDDCC678F}" type="presParOf" srcId="{6C81B437-454C-CE40-9EAB-28922171ECF4}" destId="{635B29A5-4767-7C40-A9F3-76AF3343D2E2}" srcOrd="1" destOrd="0" presId="urn:microsoft.com/office/officeart/2005/8/layout/hierarchy1"/>
    <dgm:cxn modelId="{C96ED620-3A97-ED4C-8193-E75F44571CD7}" type="presParOf" srcId="{635B29A5-4767-7C40-A9F3-76AF3343D2E2}" destId="{55661ECD-DF69-D142-928A-0D76D3F87296}" srcOrd="0" destOrd="0" presId="urn:microsoft.com/office/officeart/2005/8/layout/hierarchy1"/>
    <dgm:cxn modelId="{A5640400-6F2D-C041-A220-55F109EB88D9}" type="presParOf" srcId="{635B29A5-4767-7C40-A9F3-76AF3343D2E2}" destId="{B70C259B-4B02-DB40-866D-BE0D61864CFD}" srcOrd="1" destOrd="0" presId="urn:microsoft.com/office/officeart/2005/8/layout/hierarchy1"/>
    <dgm:cxn modelId="{98260621-F532-5C4A-B268-0A02A3E146C7}" type="presParOf" srcId="{B70C259B-4B02-DB40-866D-BE0D61864CFD}" destId="{A55067DE-D0CF-4C42-9DE4-664351382500}" srcOrd="0" destOrd="0" presId="urn:microsoft.com/office/officeart/2005/8/layout/hierarchy1"/>
    <dgm:cxn modelId="{81302F1D-1420-144C-A057-572D151BD433}" type="presParOf" srcId="{A55067DE-D0CF-4C42-9DE4-664351382500}" destId="{198B7CCA-BC23-5E43-8481-3E8F59188CF6}" srcOrd="0" destOrd="0" presId="urn:microsoft.com/office/officeart/2005/8/layout/hierarchy1"/>
    <dgm:cxn modelId="{6FA2E8BA-C314-C345-9C9D-C4F093BB4CCB}" type="presParOf" srcId="{A55067DE-D0CF-4C42-9DE4-664351382500}" destId="{AB0DA436-81BC-584E-AD13-0C28DDB23613}" srcOrd="1" destOrd="0" presId="urn:microsoft.com/office/officeart/2005/8/layout/hierarchy1"/>
    <dgm:cxn modelId="{C2A39E7F-34FC-E443-BD2A-6E3D3A01AABE}" type="presParOf" srcId="{B70C259B-4B02-DB40-866D-BE0D61864CFD}" destId="{ECBD4F52-F107-194D-8EB7-83C0B35B1051}" srcOrd="1" destOrd="0" presId="urn:microsoft.com/office/officeart/2005/8/layout/hierarchy1"/>
    <dgm:cxn modelId="{EE116E32-267B-FE43-9AC6-CF0B13B73AF7}" type="presParOf" srcId="{E6AAC162-B6FF-3545-BAE9-4B9A05CD2270}" destId="{3857BD89-200E-B442-9678-6A04F58E556C}" srcOrd="2" destOrd="0" presId="urn:microsoft.com/office/officeart/2005/8/layout/hierarchy1"/>
    <dgm:cxn modelId="{CED73C6C-A27D-AD4F-AB2C-5A77362E88C5}" type="presParOf" srcId="{E6AAC162-B6FF-3545-BAE9-4B9A05CD2270}" destId="{960CF58E-58BF-EC45-9C89-8CBF10376A5C}" srcOrd="3" destOrd="0" presId="urn:microsoft.com/office/officeart/2005/8/layout/hierarchy1"/>
    <dgm:cxn modelId="{2DFA4A67-82BB-1649-9686-D92B89DD5BA4}" type="presParOf" srcId="{960CF58E-58BF-EC45-9C89-8CBF10376A5C}" destId="{A6C2DD55-4D79-F848-A9E3-D47AE686A157}" srcOrd="0" destOrd="0" presId="urn:microsoft.com/office/officeart/2005/8/layout/hierarchy1"/>
    <dgm:cxn modelId="{4A22E76E-FFB4-EB4E-8D6E-439716C543B3}" type="presParOf" srcId="{A6C2DD55-4D79-F848-A9E3-D47AE686A157}" destId="{59D77A92-A375-BF41-B5DB-29896FA0A695}" srcOrd="0" destOrd="0" presId="urn:microsoft.com/office/officeart/2005/8/layout/hierarchy1"/>
    <dgm:cxn modelId="{6DDA0F0D-89CA-F74E-94F1-4D6A2D451D38}" type="presParOf" srcId="{A6C2DD55-4D79-F848-A9E3-D47AE686A157}" destId="{5AD98322-5143-5E4F-9168-F622EE51B6C4}" srcOrd="1" destOrd="0" presId="urn:microsoft.com/office/officeart/2005/8/layout/hierarchy1"/>
    <dgm:cxn modelId="{ACB04AC9-F863-BA41-AD82-AFF0E81117F1}" type="presParOf" srcId="{960CF58E-58BF-EC45-9C89-8CBF10376A5C}" destId="{05C3F5A4-A0D3-124F-8F8C-FA174FA11AC4}" srcOrd="1" destOrd="0" presId="urn:microsoft.com/office/officeart/2005/8/layout/hierarchy1"/>
    <dgm:cxn modelId="{347A5F3D-2762-CE48-8310-87CF1F1729F5}" type="presParOf" srcId="{05C3F5A4-A0D3-124F-8F8C-FA174FA11AC4}" destId="{6AEA2299-4ADF-4445-BBFB-696B6A613788}" srcOrd="0" destOrd="0" presId="urn:microsoft.com/office/officeart/2005/8/layout/hierarchy1"/>
    <dgm:cxn modelId="{11F1E178-2A3C-5640-9371-8F34F738D880}" type="presParOf" srcId="{05C3F5A4-A0D3-124F-8F8C-FA174FA11AC4}" destId="{B5FCB7C5-2B66-5344-B42F-559162FCE94B}" srcOrd="1" destOrd="0" presId="urn:microsoft.com/office/officeart/2005/8/layout/hierarchy1"/>
    <dgm:cxn modelId="{715B11EB-1B5D-C74A-9DC4-50A524783312}" type="presParOf" srcId="{B5FCB7C5-2B66-5344-B42F-559162FCE94B}" destId="{993DF222-237C-0747-AA17-D2A54A7D9599}" srcOrd="0" destOrd="0" presId="urn:microsoft.com/office/officeart/2005/8/layout/hierarchy1"/>
    <dgm:cxn modelId="{E4238D16-A229-5F43-B400-E15E4CFA921B}" type="presParOf" srcId="{993DF222-237C-0747-AA17-D2A54A7D9599}" destId="{5DDF2FD7-606F-444A-B3A9-D5A8DC32EEEA}" srcOrd="0" destOrd="0" presId="urn:microsoft.com/office/officeart/2005/8/layout/hierarchy1"/>
    <dgm:cxn modelId="{753BE117-D31E-7941-8570-F8F449F035E7}" type="presParOf" srcId="{993DF222-237C-0747-AA17-D2A54A7D9599}" destId="{EE995676-1CFC-0043-B160-9FF05CF1B80F}" srcOrd="1" destOrd="0" presId="urn:microsoft.com/office/officeart/2005/8/layout/hierarchy1"/>
    <dgm:cxn modelId="{9A125E80-C766-474B-BAA9-E95BDF0EC334}" type="presParOf" srcId="{B5FCB7C5-2B66-5344-B42F-559162FCE94B}" destId="{3105A727-3AE8-434A-A9E6-2D4CBF3C669C}" srcOrd="1" destOrd="0" presId="urn:microsoft.com/office/officeart/2005/8/layout/hierarchy1"/>
    <dgm:cxn modelId="{E0C343BA-48C8-2C4A-B796-9E493A18554A}" type="presParOf" srcId="{05C3F5A4-A0D3-124F-8F8C-FA174FA11AC4}" destId="{FE3605E3-5F76-1245-94CF-3B8BF0D125AC}" srcOrd="2" destOrd="0" presId="urn:microsoft.com/office/officeart/2005/8/layout/hierarchy1"/>
    <dgm:cxn modelId="{747A044F-41B0-0946-9F28-D8B567AED61F}" type="presParOf" srcId="{05C3F5A4-A0D3-124F-8F8C-FA174FA11AC4}" destId="{9C3FE433-803C-A747-930B-0CDF7BF12207}" srcOrd="3" destOrd="0" presId="urn:microsoft.com/office/officeart/2005/8/layout/hierarchy1"/>
    <dgm:cxn modelId="{81CE411C-26F1-4847-A1DA-E295CEA9F17D}" type="presParOf" srcId="{9C3FE433-803C-A747-930B-0CDF7BF12207}" destId="{970081FC-1069-D34B-824D-B827453FB1D2}" srcOrd="0" destOrd="0" presId="urn:microsoft.com/office/officeart/2005/8/layout/hierarchy1"/>
    <dgm:cxn modelId="{A58F53D2-C2E8-F143-9FD2-17D93FAE40CB}" type="presParOf" srcId="{970081FC-1069-D34B-824D-B827453FB1D2}" destId="{138C990C-E169-204E-9734-F5A4F5D350AC}" srcOrd="0" destOrd="0" presId="urn:microsoft.com/office/officeart/2005/8/layout/hierarchy1"/>
    <dgm:cxn modelId="{D2AE829D-FA73-7341-8CEC-869FEECBD6D1}" type="presParOf" srcId="{970081FC-1069-D34B-824D-B827453FB1D2}" destId="{BF5EB84A-A376-CC48-80A8-02D921FA679D}" srcOrd="1" destOrd="0" presId="urn:microsoft.com/office/officeart/2005/8/layout/hierarchy1"/>
    <dgm:cxn modelId="{37DC5E32-005D-6145-91B1-3520AFCD6E36}" type="presParOf" srcId="{9C3FE433-803C-A747-930B-0CDF7BF12207}" destId="{3B4F904C-C302-164E-8FF3-60909AB391DA}" srcOrd="1" destOrd="0" presId="urn:microsoft.com/office/officeart/2005/8/layout/hierarchy1"/>
    <dgm:cxn modelId="{40416E45-26EA-E24F-A18F-169D9103C246}" type="presParOf" srcId="{E6AAC162-B6FF-3545-BAE9-4B9A05CD2270}" destId="{6F1C2531-F6D7-554C-B237-64585FB09384}" srcOrd="4" destOrd="0" presId="urn:microsoft.com/office/officeart/2005/8/layout/hierarchy1"/>
    <dgm:cxn modelId="{4FB95CAA-B279-9841-B065-26E3256A603A}" type="presParOf" srcId="{E6AAC162-B6FF-3545-BAE9-4B9A05CD2270}" destId="{13E5110D-C0E1-5545-81DF-0BF5E70538FC}" srcOrd="5" destOrd="0" presId="urn:microsoft.com/office/officeart/2005/8/layout/hierarchy1"/>
    <dgm:cxn modelId="{41F3AC82-E805-064F-BF6A-4C3212B070D4}" type="presParOf" srcId="{13E5110D-C0E1-5545-81DF-0BF5E70538FC}" destId="{BDA3A631-DAF6-E948-A8AA-06C2F5A5185D}" srcOrd="0" destOrd="0" presId="urn:microsoft.com/office/officeart/2005/8/layout/hierarchy1"/>
    <dgm:cxn modelId="{D6CC849A-88FD-864E-BEFA-7164FC048678}" type="presParOf" srcId="{BDA3A631-DAF6-E948-A8AA-06C2F5A5185D}" destId="{88C28D3B-C0E4-DD43-9A7C-DF7D40D592B1}" srcOrd="0" destOrd="0" presId="urn:microsoft.com/office/officeart/2005/8/layout/hierarchy1"/>
    <dgm:cxn modelId="{9932C84A-739F-514D-9781-A649B9A2FAC9}" type="presParOf" srcId="{BDA3A631-DAF6-E948-A8AA-06C2F5A5185D}" destId="{0B265071-9F45-8749-8527-68F0D6A02E86}" srcOrd="1" destOrd="0" presId="urn:microsoft.com/office/officeart/2005/8/layout/hierarchy1"/>
    <dgm:cxn modelId="{924A7131-13C8-B946-A67C-B7E1A3BEDA83}" type="presParOf" srcId="{13E5110D-C0E1-5545-81DF-0BF5E70538FC}" destId="{D1B2A5DF-3038-0344-88F6-EA7D99EF3680}" srcOrd="1" destOrd="0" presId="urn:microsoft.com/office/officeart/2005/8/layout/hierarchy1"/>
    <dgm:cxn modelId="{E3E9F055-760C-5E42-98DF-69311C69245E}" type="presParOf" srcId="{125AF0C6-F73E-524E-92D0-32A9276A90FD}" destId="{1BA4DB5B-0F72-224A-AC4B-AF406EE29299}" srcOrd="2" destOrd="0" presId="urn:microsoft.com/office/officeart/2005/8/layout/hierarchy1"/>
    <dgm:cxn modelId="{968495C6-62EB-104E-9C99-6F4B588BB6B4}" type="presParOf" srcId="{125AF0C6-F73E-524E-92D0-32A9276A90FD}" destId="{C1696850-1609-0942-9EF8-4D0D1462C3C6}" srcOrd="3" destOrd="0" presId="urn:microsoft.com/office/officeart/2005/8/layout/hierarchy1"/>
    <dgm:cxn modelId="{A73CEA29-5B30-C74C-A05E-3DC5EA6E03CE}" type="presParOf" srcId="{C1696850-1609-0942-9EF8-4D0D1462C3C6}" destId="{5504BDAF-4346-1546-9B18-80C8A371551C}" srcOrd="0" destOrd="0" presId="urn:microsoft.com/office/officeart/2005/8/layout/hierarchy1"/>
    <dgm:cxn modelId="{5E488C42-9F1D-6B45-B42C-C73761385C3F}" type="presParOf" srcId="{5504BDAF-4346-1546-9B18-80C8A371551C}" destId="{2307A037-36A2-C74F-B0E1-CDB4427BE35F}" srcOrd="0" destOrd="0" presId="urn:microsoft.com/office/officeart/2005/8/layout/hierarchy1"/>
    <dgm:cxn modelId="{6435C2AC-CDAD-AD4B-83BD-DE6B20A07682}" type="presParOf" srcId="{5504BDAF-4346-1546-9B18-80C8A371551C}" destId="{7D6F7D0E-B01E-FB42-A3BD-6818AFA2FB03}" srcOrd="1" destOrd="0" presId="urn:microsoft.com/office/officeart/2005/8/layout/hierarchy1"/>
    <dgm:cxn modelId="{2E16CFDB-11B6-C240-BE3C-5182AADE2E79}" type="presParOf" srcId="{C1696850-1609-0942-9EF8-4D0D1462C3C6}" destId="{3FC57618-184A-7F48-A58A-CDF10FB8BA42}" srcOrd="1" destOrd="0" presId="urn:microsoft.com/office/officeart/2005/8/layout/hierarchy1"/>
    <dgm:cxn modelId="{E5CD293A-22D9-464B-9AB8-8ECA3484A29D}" type="presParOf" srcId="{87F836AB-8342-E646-9FC3-5A43747BF671}" destId="{82D56584-4DE4-2B41-BB45-D27C2D0D7C89}" srcOrd="2" destOrd="0" presId="urn:microsoft.com/office/officeart/2005/8/layout/hierarchy1"/>
    <dgm:cxn modelId="{C519B858-A84A-BB4A-A53F-C6326A40D613}" type="presParOf" srcId="{87F836AB-8342-E646-9FC3-5A43747BF671}" destId="{AD793FE7-2BE3-7E46-BE96-7B0327AFE48F}" srcOrd="3" destOrd="0" presId="urn:microsoft.com/office/officeart/2005/8/layout/hierarchy1"/>
    <dgm:cxn modelId="{3F5F4819-74BA-CE42-AD1E-7202FD385CD5}" type="presParOf" srcId="{AD793FE7-2BE3-7E46-BE96-7B0327AFE48F}" destId="{7E53BD98-BBAA-314E-837E-6BF113542C53}" srcOrd="0" destOrd="0" presId="urn:microsoft.com/office/officeart/2005/8/layout/hierarchy1"/>
    <dgm:cxn modelId="{D9383B02-96FE-EE49-89C3-5EF5284B0349}" type="presParOf" srcId="{7E53BD98-BBAA-314E-837E-6BF113542C53}" destId="{3EA70A61-6F59-D944-AFEC-31FD3879AAA5}" srcOrd="0" destOrd="0" presId="urn:microsoft.com/office/officeart/2005/8/layout/hierarchy1"/>
    <dgm:cxn modelId="{8E4A6F33-3947-0F41-9031-06CF3086821F}" type="presParOf" srcId="{7E53BD98-BBAA-314E-837E-6BF113542C53}" destId="{4C47A863-2038-DA40-9C8F-47D0AA28645C}" srcOrd="1" destOrd="0" presId="urn:microsoft.com/office/officeart/2005/8/layout/hierarchy1"/>
    <dgm:cxn modelId="{322796CF-CD23-8546-B772-FADF0DF8C2A0}" type="presParOf" srcId="{AD793FE7-2BE3-7E46-BE96-7B0327AFE48F}" destId="{C696C6F9-E30A-C147-A6CE-B00A50491147}" srcOrd="1" destOrd="0" presId="urn:microsoft.com/office/officeart/2005/8/layout/hierarchy1"/>
    <dgm:cxn modelId="{30244653-0EE3-7845-B06D-A63AC0D84D1B}" type="presParOf" srcId="{C696C6F9-E30A-C147-A6CE-B00A50491147}" destId="{8C68C13E-CC89-004E-A397-664F9D880DCD}" srcOrd="0" destOrd="0" presId="urn:microsoft.com/office/officeart/2005/8/layout/hierarchy1"/>
    <dgm:cxn modelId="{F89F221E-AB5C-4342-9ED5-BAC74CB3A86F}" type="presParOf" srcId="{C696C6F9-E30A-C147-A6CE-B00A50491147}" destId="{14BDCDF3-797B-2E45-B535-2E80FFED5D8D}" srcOrd="1" destOrd="0" presId="urn:microsoft.com/office/officeart/2005/8/layout/hierarchy1"/>
    <dgm:cxn modelId="{948069E2-6C8E-E94B-BCBD-47E51DB27502}" type="presParOf" srcId="{14BDCDF3-797B-2E45-B535-2E80FFED5D8D}" destId="{5886A1B6-0DD6-5842-A5AB-C4EF48CA27FB}" srcOrd="0" destOrd="0" presId="urn:microsoft.com/office/officeart/2005/8/layout/hierarchy1"/>
    <dgm:cxn modelId="{A8D251AC-CFF0-DE4A-B79C-4C530A431AE6}" type="presParOf" srcId="{5886A1B6-0DD6-5842-A5AB-C4EF48CA27FB}" destId="{FFCD7AC3-EC92-7A4C-B100-EC7A762A97BB}" srcOrd="0" destOrd="0" presId="urn:microsoft.com/office/officeart/2005/8/layout/hierarchy1"/>
    <dgm:cxn modelId="{6B5B747B-FD21-8A4E-8C7B-F5C1002AD07B}" type="presParOf" srcId="{5886A1B6-0DD6-5842-A5AB-C4EF48CA27FB}" destId="{A5A8B805-CFB0-1540-8140-7B65BF7B6D05}" srcOrd="1" destOrd="0" presId="urn:microsoft.com/office/officeart/2005/8/layout/hierarchy1"/>
    <dgm:cxn modelId="{C20909FE-D721-F74D-A953-F25A4D331367}" type="presParOf" srcId="{14BDCDF3-797B-2E45-B535-2E80FFED5D8D}" destId="{A867DC6D-4696-C34F-A5AE-DA303F01B13D}" srcOrd="1" destOrd="0" presId="urn:microsoft.com/office/officeart/2005/8/layout/hierarchy1"/>
    <dgm:cxn modelId="{D1AED4F1-7B38-9A4A-BA7E-EDFBB0A850BC}" type="presParOf" srcId="{A867DC6D-4696-C34F-A5AE-DA303F01B13D}" destId="{C8002D36-F01C-7642-83C6-55AB7698BA05}" srcOrd="0" destOrd="0" presId="urn:microsoft.com/office/officeart/2005/8/layout/hierarchy1"/>
    <dgm:cxn modelId="{EB3FE649-F8E0-9449-BB52-0858B348CA9F}" type="presParOf" srcId="{A867DC6D-4696-C34F-A5AE-DA303F01B13D}" destId="{8C27E5C2-57AC-5643-89F1-D03129016424}" srcOrd="1" destOrd="0" presId="urn:microsoft.com/office/officeart/2005/8/layout/hierarchy1"/>
    <dgm:cxn modelId="{A2C521AF-EC2E-4F49-B348-1D4AF2B8977B}" type="presParOf" srcId="{8C27E5C2-57AC-5643-89F1-D03129016424}" destId="{D7908E51-813D-1248-ABA6-49B498CB8637}" srcOrd="0" destOrd="0" presId="urn:microsoft.com/office/officeart/2005/8/layout/hierarchy1"/>
    <dgm:cxn modelId="{65924877-D927-B041-9E64-AC086AC38C57}" type="presParOf" srcId="{D7908E51-813D-1248-ABA6-49B498CB8637}" destId="{42654FFB-2B2D-0E4F-A063-E7D6D73B053C}" srcOrd="0" destOrd="0" presId="urn:microsoft.com/office/officeart/2005/8/layout/hierarchy1"/>
    <dgm:cxn modelId="{E9D72BC4-5981-2C42-A6A1-0B155EE5872D}" type="presParOf" srcId="{D7908E51-813D-1248-ABA6-49B498CB8637}" destId="{0D72A037-2733-4947-BB71-974F6546DC1B}" srcOrd="1" destOrd="0" presId="urn:microsoft.com/office/officeart/2005/8/layout/hierarchy1"/>
    <dgm:cxn modelId="{E52C9342-DF3C-F943-89FD-680E2D7B87CA}" type="presParOf" srcId="{8C27E5C2-57AC-5643-89F1-D03129016424}" destId="{188CECAF-D58C-C144-AFF7-F7F43E75FDB8}" srcOrd="1" destOrd="0" presId="urn:microsoft.com/office/officeart/2005/8/layout/hierarchy1"/>
    <dgm:cxn modelId="{33239AEC-57E7-5E43-9062-90F69B4FB059}" type="presParOf" srcId="{C696C6F9-E30A-C147-A6CE-B00A50491147}" destId="{4CD13650-B4C6-3C4C-BBA2-E36EB8E13A7E}" srcOrd="2" destOrd="0" presId="urn:microsoft.com/office/officeart/2005/8/layout/hierarchy1"/>
    <dgm:cxn modelId="{C77E51F6-4ED1-D145-8CF2-F0EC23D45221}" type="presParOf" srcId="{C696C6F9-E30A-C147-A6CE-B00A50491147}" destId="{73393B0D-C9BE-2A44-9887-27E7E5B84CBE}" srcOrd="3" destOrd="0" presId="urn:microsoft.com/office/officeart/2005/8/layout/hierarchy1"/>
    <dgm:cxn modelId="{8257ECD1-EBE2-0F42-B0C1-14B0D27B8AAC}" type="presParOf" srcId="{73393B0D-C9BE-2A44-9887-27E7E5B84CBE}" destId="{B35EFDCC-BC98-6B4B-BDCB-5511444C8845}" srcOrd="0" destOrd="0" presId="urn:microsoft.com/office/officeart/2005/8/layout/hierarchy1"/>
    <dgm:cxn modelId="{25308BA3-A1D7-1946-A429-68876E7BDD5F}" type="presParOf" srcId="{B35EFDCC-BC98-6B4B-BDCB-5511444C8845}" destId="{543187C5-C956-B148-91E3-051DF6B8A586}" srcOrd="0" destOrd="0" presId="urn:microsoft.com/office/officeart/2005/8/layout/hierarchy1"/>
    <dgm:cxn modelId="{43B2BF6C-02EA-4A40-A2FD-51AA67BCFDDA}" type="presParOf" srcId="{B35EFDCC-BC98-6B4B-BDCB-5511444C8845}" destId="{662D4094-9DF5-FD4B-ADE8-58F40FCB0917}" srcOrd="1" destOrd="0" presId="urn:microsoft.com/office/officeart/2005/8/layout/hierarchy1"/>
    <dgm:cxn modelId="{ABB71E89-5F8E-A24B-82B4-377F6B1ECC33}" type="presParOf" srcId="{73393B0D-C9BE-2A44-9887-27E7E5B84CBE}" destId="{D05A02D6-A0D1-CC4B-82F4-9AC856943B65}" srcOrd="1" destOrd="0" presId="urn:microsoft.com/office/officeart/2005/8/layout/hierarchy1"/>
    <dgm:cxn modelId="{3DFDA7B9-14CF-8E4C-B637-B2DEB4C66715}" type="presParOf" srcId="{6DE7C0D3-9B6F-1447-AD1E-950174683400}" destId="{B6993CDB-5681-3245-8672-06E1F4C1D36D}" srcOrd="2" destOrd="0" presId="urn:microsoft.com/office/officeart/2005/8/layout/hierarchy1"/>
    <dgm:cxn modelId="{B150C565-F130-5F4A-B777-23435AFD8884}" type="presParOf" srcId="{6DE7C0D3-9B6F-1447-AD1E-950174683400}" destId="{D0D293E1-3D5D-EA4C-8A8D-7CB164B1B692}" srcOrd="3" destOrd="0" presId="urn:microsoft.com/office/officeart/2005/8/layout/hierarchy1"/>
    <dgm:cxn modelId="{8CE4447C-34D8-814F-8191-939D38618FE6}" type="presParOf" srcId="{D0D293E1-3D5D-EA4C-8A8D-7CB164B1B692}" destId="{CC9EE8CD-2A04-6844-AAA7-F4B47ACF6E12}" srcOrd="0" destOrd="0" presId="urn:microsoft.com/office/officeart/2005/8/layout/hierarchy1"/>
    <dgm:cxn modelId="{FAF67D77-1ACA-5548-8AD0-9CA524CC27CE}" type="presParOf" srcId="{CC9EE8CD-2A04-6844-AAA7-F4B47ACF6E12}" destId="{1A8DDA09-9DE4-CB4A-94F7-4CCB751D0D33}" srcOrd="0" destOrd="0" presId="urn:microsoft.com/office/officeart/2005/8/layout/hierarchy1"/>
    <dgm:cxn modelId="{8F6F32D5-7B3B-0E4B-B3E5-53AF98D20843}" type="presParOf" srcId="{CC9EE8CD-2A04-6844-AAA7-F4B47ACF6E12}" destId="{1EF0ACD0-581A-BB46-BB30-4DECC200D043}" srcOrd="1" destOrd="0" presId="urn:microsoft.com/office/officeart/2005/8/layout/hierarchy1"/>
    <dgm:cxn modelId="{01963670-CF12-5A4C-A5AC-F4C2197E5127}" type="presParOf" srcId="{D0D293E1-3D5D-EA4C-8A8D-7CB164B1B692}" destId="{EBCC04E2-81E6-B74F-89CB-0A7B3E08B4F2}" srcOrd="1" destOrd="0" presId="urn:microsoft.com/office/officeart/2005/8/layout/hierarchy1"/>
    <dgm:cxn modelId="{18C51636-FA27-C24B-B9C2-660CB065F9BA}" type="presParOf" srcId="{EBCC04E2-81E6-B74F-89CB-0A7B3E08B4F2}" destId="{001FF254-D6F9-AA42-94CA-634782CA6485}" srcOrd="0" destOrd="0" presId="urn:microsoft.com/office/officeart/2005/8/layout/hierarchy1"/>
    <dgm:cxn modelId="{E3BC10FA-2302-C44E-BE49-434954156DA7}" type="presParOf" srcId="{EBCC04E2-81E6-B74F-89CB-0A7B3E08B4F2}" destId="{7E3D9E5F-98EB-A445-8422-AF476F398C8C}" srcOrd="1" destOrd="0" presId="urn:microsoft.com/office/officeart/2005/8/layout/hierarchy1"/>
    <dgm:cxn modelId="{BC4D95AB-C9A1-9D4C-A3EE-191F95F73A3C}" type="presParOf" srcId="{7E3D9E5F-98EB-A445-8422-AF476F398C8C}" destId="{423F214E-E54E-E042-B1A3-DBF3C1354526}" srcOrd="0" destOrd="0" presId="urn:microsoft.com/office/officeart/2005/8/layout/hierarchy1"/>
    <dgm:cxn modelId="{82D7A424-46E6-B942-BCDE-11E093420E6B}" type="presParOf" srcId="{423F214E-E54E-E042-B1A3-DBF3C1354526}" destId="{C1E2054E-D4E5-4642-AFA9-522AA906DAE6}" srcOrd="0" destOrd="0" presId="urn:microsoft.com/office/officeart/2005/8/layout/hierarchy1"/>
    <dgm:cxn modelId="{4B54EEB3-19E5-F345-8F20-54129CC84712}" type="presParOf" srcId="{423F214E-E54E-E042-B1A3-DBF3C1354526}" destId="{ADA07F2A-559E-0E48-85E9-8060E81AFA96}" srcOrd="1" destOrd="0" presId="urn:microsoft.com/office/officeart/2005/8/layout/hierarchy1"/>
    <dgm:cxn modelId="{04D3DB70-6C01-854D-BB4E-08FEB3DEC70D}" type="presParOf" srcId="{7E3D9E5F-98EB-A445-8422-AF476F398C8C}" destId="{304C9A8E-040B-9B47-9E84-9F949C251625}" srcOrd="1" destOrd="0" presId="urn:microsoft.com/office/officeart/2005/8/layout/hierarchy1"/>
    <dgm:cxn modelId="{95B489C0-84DE-A445-BE7E-712C4C2480B2}" type="presParOf" srcId="{EBCC04E2-81E6-B74F-89CB-0A7B3E08B4F2}" destId="{AB848C3A-5362-BA47-B9A2-4426C7A0F8D8}" srcOrd="2" destOrd="0" presId="urn:microsoft.com/office/officeart/2005/8/layout/hierarchy1"/>
    <dgm:cxn modelId="{8D344A7E-A30B-4944-B9D8-5C47A5057825}" type="presParOf" srcId="{EBCC04E2-81E6-B74F-89CB-0A7B3E08B4F2}" destId="{A8CFE2D5-EEB8-564A-9A91-0CB01859F775}" srcOrd="3" destOrd="0" presId="urn:microsoft.com/office/officeart/2005/8/layout/hierarchy1"/>
    <dgm:cxn modelId="{009E42AA-0DE6-8845-A224-0D93EA5453CB}" type="presParOf" srcId="{A8CFE2D5-EEB8-564A-9A91-0CB01859F775}" destId="{CB92A128-43C4-C540-9FBD-A925897EE327}" srcOrd="0" destOrd="0" presId="urn:microsoft.com/office/officeart/2005/8/layout/hierarchy1"/>
    <dgm:cxn modelId="{362EFD37-284A-7740-AF09-AD44E7F36BDB}" type="presParOf" srcId="{CB92A128-43C4-C540-9FBD-A925897EE327}" destId="{4420C44E-8A93-E64C-9897-2D18FB8D5573}" srcOrd="0" destOrd="0" presId="urn:microsoft.com/office/officeart/2005/8/layout/hierarchy1"/>
    <dgm:cxn modelId="{B55F68AE-5D26-3240-B2F2-2AC76FAB0BFD}" type="presParOf" srcId="{CB92A128-43C4-C540-9FBD-A925897EE327}" destId="{29FCCA85-D073-1B4C-A53E-7F466834416F}" srcOrd="1" destOrd="0" presId="urn:microsoft.com/office/officeart/2005/8/layout/hierarchy1"/>
    <dgm:cxn modelId="{7BC506A8-F204-F148-B8BA-BD8FB79003BE}" type="presParOf" srcId="{A8CFE2D5-EEB8-564A-9A91-0CB01859F775}" destId="{4F63B1CA-4DF8-EC46-9523-25E08D431D0A}" srcOrd="1" destOrd="0" presId="urn:microsoft.com/office/officeart/2005/8/layout/hierarchy1"/>
    <dgm:cxn modelId="{CDC0F3D9-A8CD-DB42-89F3-EA9E58B0FF5C}" type="presParOf" srcId="{4F63B1CA-4DF8-EC46-9523-25E08D431D0A}" destId="{C53107F9-108B-C747-8148-5C86FCCC400E}" srcOrd="0" destOrd="0" presId="urn:microsoft.com/office/officeart/2005/8/layout/hierarchy1"/>
    <dgm:cxn modelId="{2E15047C-304B-8348-807E-9B4F69872CD7}" type="presParOf" srcId="{4F63B1CA-4DF8-EC46-9523-25E08D431D0A}" destId="{3FA2123F-376F-0140-89AA-CF2317FD2ECE}" srcOrd="1" destOrd="0" presId="urn:microsoft.com/office/officeart/2005/8/layout/hierarchy1"/>
    <dgm:cxn modelId="{9742DE82-C967-1546-813C-4399FECBDF2B}" type="presParOf" srcId="{3FA2123F-376F-0140-89AA-CF2317FD2ECE}" destId="{74E3E3F7-E5D6-2040-A311-2229672641DC}" srcOrd="0" destOrd="0" presId="urn:microsoft.com/office/officeart/2005/8/layout/hierarchy1"/>
    <dgm:cxn modelId="{D38BC782-AF88-AE49-BF52-DBCD2D5D5568}" type="presParOf" srcId="{74E3E3F7-E5D6-2040-A311-2229672641DC}" destId="{AC97531D-C695-DE4C-9346-9E3F6F79ECCD}" srcOrd="0" destOrd="0" presId="urn:microsoft.com/office/officeart/2005/8/layout/hierarchy1"/>
    <dgm:cxn modelId="{FEA0C3FF-FBE8-E745-A4C9-8E36E24EC490}" type="presParOf" srcId="{74E3E3F7-E5D6-2040-A311-2229672641DC}" destId="{18BA5404-8A4C-0543-8495-BE6F0EDB2D38}" srcOrd="1" destOrd="0" presId="urn:microsoft.com/office/officeart/2005/8/layout/hierarchy1"/>
    <dgm:cxn modelId="{6E350B2C-4FB3-C449-837F-7FEC3C93EEE9}" type="presParOf" srcId="{3FA2123F-376F-0140-89AA-CF2317FD2ECE}" destId="{C9BDD04F-B5E7-7440-9477-8111F53F1CBB}" srcOrd="1" destOrd="0" presId="urn:microsoft.com/office/officeart/2005/8/layout/hierarchy1"/>
    <dgm:cxn modelId="{43C75FD1-C167-1345-8199-E35AC9E9FA5E}" type="presParOf" srcId="{C9BDD04F-B5E7-7440-9477-8111F53F1CBB}" destId="{698CEF23-F8E0-0D4D-ACF4-98690BBF4D39}" srcOrd="0" destOrd="0" presId="urn:microsoft.com/office/officeart/2005/8/layout/hierarchy1"/>
    <dgm:cxn modelId="{06B92953-53F5-9143-8EBA-B7CA0866A1E1}" type="presParOf" srcId="{C9BDD04F-B5E7-7440-9477-8111F53F1CBB}" destId="{E8419B35-6BE9-9B48-97A4-EF1AAEC1248C}" srcOrd="1" destOrd="0" presId="urn:microsoft.com/office/officeart/2005/8/layout/hierarchy1"/>
    <dgm:cxn modelId="{38576B5E-C310-3F46-9405-2FC4D4DBD842}" type="presParOf" srcId="{E8419B35-6BE9-9B48-97A4-EF1AAEC1248C}" destId="{6D2DCECB-D92A-1F45-A6A4-AB799E5CB57A}" srcOrd="0" destOrd="0" presId="urn:microsoft.com/office/officeart/2005/8/layout/hierarchy1"/>
    <dgm:cxn modelId="{F676A62A-3D70-5244-AB6A-7653988C8E43}" type="presParOf" srcId="{6D2DCECB-D92A-1F45-A6A4-AB799E5CB57A}" destId="{70B7711F-9386-FA42-A4C1-EC40FEFABB71}" srcOrd="0" destOrd="0" presId="urn:microsoft.com/office/officeart/2005/8/layout/hierarchy1"/>
    <dgm:cxn modelId="{0B85724B-1632-4D43-BCD7-65810E91566D}" type="presParOf" srcId="{6D2DCECB-D92A-1F45-A6A4-AB799E5CB57A}" destId="{9A78DE0A-1719-854E-A3E1-0CC35416E45B}" srcOrd="1" destOrd="0" presId="urn:microsoft.com/office/officeart/2005/8/layout/hierarchy1"/>
    <dgm:cxn modelId="{516AEF3A-490A-C24B-ABD8-ED2AD91F004F}" type="presParOf" srcId="{E8419B35-6BE9-9B48-97A4-EF1AAEC1248C}" destId="{7B252E75-BEA9-6642-AAA8-26134AB08D8F}" srcOrd="1" destOrd="0" presId="urn:microsoft.com/office/officeart/2005/8/layout/hierarchy1"/>
    <dgm:cxn modelId="{F5CDC4F9-50BC-FF48-8806-6F2305246709}" type="presParOf" srcId="{4F63B1CA-4DF8-EC46-9523-25E08D431D0A}" destId="{EDB17704-F688-6F40-96CD-1C8B40520C49}" srcOrd="2" destOrd="0" presId="urn:microsoft.com/office/officeart/2005/8/layout/hierarchy1"/>
    <dgm:cxn modelId="{A9CEFEAD-CAEC-EB4B-B72F-C928600C802B}" type="presParOf" srcId="{4F63B1CA-4DF8-EC46-9523-25E08D431D0A}" destId="{7FE603FE-5173-8244-BC99-EF31641C852D}" srcOrd="3" destOrd="0" presId="urn:microsoft.com/office/officeart/2005/8/layout/hierarchy1"/>
    <dgm:cxn modelId="{BCB727DB-CE7E-904E-952C-4BD2F16E1410}" type="presParOf" srcId="{7FE603FE-5173-8244-BC99-EF31641C852D}" destId="{D146E929-35A7-7D49-9C4F-D6CD3DB92CC1}" srcOrd="0" destOrd="0" presId="urn:microsoft.com/office/officeart/2005/8/layout/hierarchy1"/>
    <dgm:cxn modelId="{E4D0065F-B7B8-CD41-91A8-2990B2AF48BA}" type="presParOf" srcId="{D146E929-35A7-7D49-9C4F-D6CD3DB92CC1}" destId="{7FE344C9-2CCE-4944-8EE7-A903E86E2CED}" srcOrd="0" destOrd="0" presId="urn:microsoft.com/office/officeart/2005/8/layout/hierarchy1"/>
    <dgm:cxn modelId="{19A1A652-CBF3-1C4C-ABFA-D3D4679FDCDD}" type="presParOf" srcId="{D146E929-35A7-7D49-9C4F-D6CD3DB92CC1}" destId="{28AF21C4-4B38-DA41-8F77-F470671682DF}" srcOrd="1" destOrd="0" presId="urn:microsoft.com/office/officeart/2005/8/layout/hierarchy1"/>
    <dgm:cxn modelId="{1CE8F537-2CD7-D249-9465-9B865C35415F}" type="presParOf" srcId="{7FE603FE-5173-8244-BC99-EF31641C852D}" destId="{D27383E5-913A-8240-B76E-95FE213C870D}" srcOrd="1" destOrd="0" presId="urn:microsoft.com/office/officeart/2005/8/layout/hierarchy1"/>
    <dgm:cxn modelId="{35B22A9E-97D5-0A48-9749-7FD321FA1917}" type="presParOf" srcId="{D27383E5-913A-8240-B76E-95FE213C870D}" destId="{6984E382-9299-0B40-AFD8-558B5CC7605F}" srcOrd="0" destOrd="0" presId="urn:microsoft.com/office/officeart/2005/8/layout/hierarchy1"/>
    <dgm:cxn modelId="{65F3DA4A-9D8F-024D-A090-6156468E66D0}" type="presParOf" srcId="{D27383E5-913A-8240-B76E-95FE213C870D}" destId="{5710AEEC-46E1-B94F-82A0-58187949586A}" srcOrd="1" destOrd="0" presId="urn:microsoft.com/office/officeart/2005/8/layout/hierarchy1"/>
    <dgm:cxn modelId="{5C36F4C9-1AFE-3444-905B-8B66E1B69B24}" type="presParOf" srcId="{5710AEEC-46E1-B94F-82A0-58187949586A}" destId="{891F9757-98B6-394F-ACDD-9F7FACFBE1A2}" srcOrd="0" destOrd="0" presId="urn:microsoft.com/office/officeart/2005/8/layout/hierarchy1"/>
    <dgm:cxn modelId="{8DA6F52B-7824-4B4C-B459-466E67A3366A}" type="presParOf" srcId="{891F9757-98B6-394F-ACDD-9F7FACFBE1A2}" destId="{0375F6D6-41DE-E742-BC2D-20958EEB1770}" srcOrd="0" destOrd="0" presId="urn:microsoft.com/office/officeart/2005/8/layout/hierarchy1"/>
    <dgm:cxn modelId="{05F7AFAA-A17E-DE4F-9180-278E0FD67205}" type="presParOf" srcId="{891F9757-98B6-394F-ACDD-9F7FACFBE1A2}" destId="{147C7781-3C40-BA4D-8B11-34669AC2B9B7}" srcOrd="1" destOrd="0" presId="urn:microsoft.com/office/officeart/2005/8/layout/hierarchy1"/>
    <dgm:cxn modelId="{EF8E1EFE-C1EF-8740-9C4A-3D8FD8850C9B}" type="presParOf" srcId="{5710AEEC-46E1-B94F-82A0-58187949586A}" destId="{FC88BE56-C5FC-E64D-8064-7B0D38549251}" srcOrd="1" destOrd="0" presId="urn:microsoft.com/office/officeart/2005/8/layout/hierarchy1"/>
  </dgm:cxnLst>
  <dgm:bg>
    <a:noFill/>
  </dgm:bg>
  <dgm:whole>
    <a:ln w="57150" cmpd="sn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FD2DC9C9-CCF8-6D47-A8AF-7E8440F609A2}" type="doc">
      <dgm:prSet loTypeId="urn:microsoft.com/office/officeart/2005/8/layout/hierarchy1" loCatId="" qsTypeId="urn:microsoft.com/office/officeart/2005/8/quickstyle/3D4" qsCatId="3D" csTypeId="urn:microsoft.com/office/officeart/2005/8/colors/accent1_2" csCatId="accent1" phldr="1"/>
      <dgm:spPr/>
      <dgm:t>
        <a:bodyPr/>
        <a:lstStyle/>
        <a:p>
          <a:endParaRPr lang="en-US"/>
        </a:p>
      </dgm:t>
    </dgm:pt>
    <dgm:pt modelId="{6663E73A-B4D8-114D-9A57-196311397A7B}">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Revenue</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2BDE6DBF-B01B-3948-A29F-997B5AA29D1B}" type="parTrans" cxnId="{2F19A82D-0AA0-A849-A409-9BDD63603DF3}">
      <dgm:prSet/>
      <dgm:spPr/>
      <dgm:t>
        <a:bodyPr/>
        <a:lstStyle/>
        <a:p>
          <a:endParaRPr lang="en-US"/>
        </a:p>
      </dgm:t>
    </dgm:pt>
    <dgm:pt modelId="{8468B152-B44E-2D4F-96D8-E18658D2ED91}" type="sibTrans" cxnId="{2F19A82D-0AA0-A849-A409-9BDD63603DF3}">
      <dgm:prSet/>
      <dgm:spPr/>
      <dgm:t>
        <a:bodyPr/>
        <a:lstStyle/>
        <a:p>
          <a:endParaRPr lang="en-US"/>
        </a:p>
      </dgm:t>
    </dgm:pt>
    <dgm:pt modelId="{802182A1-5ADE-AA44-BB89-7BC9022A70EB}">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 of Bookings</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F7825CC9-CFD7-2E44-B407-197DEBE2A7DA}" type="parTrans" cxnId="{A0553FDA-A0A2-F949-8857-F7270384FEAA}">
      <dgm:prSet/>
      <dgm:spPr/>
      <dgm:t>
        <a:bodyPr/>
        <a:lstStyle/>
        <a:p>
          <a:endParaRPr lang="en-US"/>
        </a:p>
      </dgm:t>
    </dgm:pt>
    <dgm:pt modelId="{E3676011-911F-664F-BADD-D08DE76F3005}" type="sibTrans" cxnId="{A0553FDA-A0A2-F949-8857-F7270384FEAA}">
      <dgm:prSet/>
      <dgm:spPr/>
      <dgm:t>
        <a:bodyPr/>
        <a:lstStyle/>
        <a:p>
          <a:endParaRPr lang="en-US"/>
        </a:p>
      </dgm:t>
    </dgm:pt>
    <dgm:pt modelId="{EC812E3C-0D85-1E47-B3A6-EE4543E7DAFF}">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Booking Size</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86FF8472-279D-D547-A2AF-3637FC72F587}" type="parTrans" cxnId="{AFFAF1C2-B9C6-0F46-A2E0-AA3A2862E00E}">
      <dgm:prSet/>
      <dgm:spPr/>
      <dgm:t>
        <a:bodyPr/>
        <a:lstStyle/>
        <a:p>
          <a:endParaRPr lang="en-US"/>
        </a:p>
      </dgm:t>
    </dgm:pt>
    <dgm:pt modelId="{9CBF0B23-FEFA-5E43-BC15-C7D42A5D2A9D}" type="sibTrans" cxnId="{AFFAF1C2-B9C6-0F46-A2E0-AA3A2862E00E}">
      <dgm:prSet/>
      <dgm:spPr/>
      <dgm:t>
        <a:bodyPr/>
        <a:lstStyle/>
        <a:p>
          <a:endParaRPr lang="en-US"/>
        </a:p>
      </dgm:t>
    </dgm:pt>
    <dgm:pt modelId="{ECC431F9-BE1A-7346-9793-CB6E99AA8C2C}">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 of nights</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D6A24B47-B65E-A14E-A363-7A3CD0CA13B3}" type="parTrans" cxnId="{FB7C4340-A45C-C647-8D38-4460F9414DAA}">
      <dgm:prSet/>
      <dgm:spPr/>
      <dgm:t>
        <a:bodyPr/>
        <a:lstStyle/>
        <a:p>
          <a:endParaRPr lang="en-US"/>
        </a:p>
      </dgm:t>
    </dgm:pt>
    <dgm:pt modelId="{AB8A828C-5589-E74A-8B6F-E870B402B376}" type="sibTrans" cxnId="{FB7C4340-A45C-C647-8D38-4460F9414DAA}">
      <dgm:prSet/>
      <dgm:spPr/>
      <dgm:t>
        <a:bodyPr/>
        <a:lstStyle/>
        <a:p>
          <a:endParaRPr lang="en-US"/>
        </a:p>
      </dgm:t>
    </dgm:pt>
    <dgm:pt modelId="{E8F63ACE-5A67-F84F-974F-C3D55C66491F}">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Avg. price per night</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8BECD19C-01B0-3A42-8370-4B8EBB3B6C41}" type="parTrans" cxnId="{3CD31F0F-DC0C-7D4D-B483-4BD7A86BAC66}">
      <dgm:prSet/>
      <dgm:spPr/>
      <dgm:t>
        <a:bodyPr/>
        <a:lstStyle/>
        <a:p>
          <a:endParaRPr lang="en-US"/>
        </a:p>
      </dgm:t>
    </dgm:pt>
    <dgm:pt modelId="{81EAEF97-6861-F946-90DF-EF99A396D54C}" type="sibTrans" cxnId="{3CD31F0F-DC0C-7D4D-B483-4BD7A86BAC66}">
      <dgm:prSet/>
      <dgm:spPr/>
      <dgm:t>
        <a:bodyPr/>
        <a:lstStyle/>
        <a:p>
          <a:endParaRPr lang="en-US"/>
        </a:p>
      </dgm:t>
    </dgm:pt>
    <dgm:pt modelId="{98D6F8A1-CD2F-5848-B34A-2163A26A1F82}">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Customers</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8AFCFBBF-8498-8B4C-A142-143E7DB9F0AF}" type="parTrans" cxnId="{D5F1C473-F3C8-C240-8257-356B8E197581}">
      <dgm:prSet/>
      <dgm:spPr/>
      <dgm:t>
        <a:bodyPr/>
        <a:lstStyle/>
        <a:p>
          <a:endParaRPr lang="en-US"/>
        </a:p>
      </dgm:t>
    </dgm:pt>
    <dgm:pt modelId="{1F56F18A-6E91-9E49-849A-DE0DDE2CFBFA}" type="sibTrans" cxnId="{D5F1C473-F3C8-C240-8257-356B8E197581}">
      <dgm:prSet/>
      <dgm:spPr/>
      <dgm:t>
        <a:bodyPr/>
        <a:lstStyle/>
        <a:p>
          <a:endParaRPr lang="en-US"/>
        </a:p>
      </dgm:t>
    </dgm:pt>
    <dgm:pt modelId="{DA587967-F97B-8443-ABA9-F15B685FDA3D}">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Conversion Rate</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6F61C45A-C295-AA4A-9106-BF3946EFF56E}" type="parTrans" cxnId="{BC04DEA8-8926-F544-A9BC-D0E3609182C8}">
      <dgm:prSet/>
      <dgm:spPr/>
      <dgm:t>
        <a:bodyPr/>
        <a:lstStyle/>
        <a:p>
          <a:endParaRPr lang="en-US"/>
        </a:p>
      </dgm:t>
    </dgm:pt>
    <dgm:pt modelId="{CB6742D1-4CE5-C847-B781-3A4B78DCF6B0}" type="sibTrans" cxnId="{BC04DEA8-8926-F544-A9BC-D0E3609182C8}">
      <dgm:prSet/>
      <dgm:spPr/>
      <dgm:t>
        <a:bodyPr/>
        <a:lstStyle/>
        <a:p>
          <a:endParaRPr lang="en-US"/>
        </a:p>
      </dgm:t>
    </dgm:pt>
    <dgm:pt modelId="{382190E2-7F8D-D44F-A664-F248D46D1BD4}">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Upsells</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570CF867-247E-F548-AE57-40A2DEFDEC01}" type="parTrans" cxnId="{24476AFC-7DDE-6449-8442-C1BECD5520E2}">
      <dgm:prSet/>
      <dgm:spPr/>
      <dgm:t>
        <a:bodyPr/>
        <a:lstStyle/>
        <a:p>
          <a:endParaRPr lang="en-US"/>
        </a:p>
      </dgm:t>
    </dgm:pt>
    <dgm:pt modelId="{C85A28BE-31E0-FB47-8956-9A70C1E7A0C1}" type="sibTrans" cxnId="{24476AFC-7DDE-6449-8442-C1BECD5520E2}">
      <dgm:prSet/>
      <dgm:spPr/>
      <dgm:t>
        <a:bodyPr/>
        <a:lstStyle/>
        <a:p>
          <a:endParaRPr lang="en-US"/>
        </a:p>
      </dgm:t>
    </dgm:pt>
    <dgm:pt modelId="{041119CE-361E-6D4A-9899-F5AB6B6B890A}" type="pres">
      <dgm:prSet presAssocID="{FD2DC9C9-CCF8-6D47-A8AF-7E8440F609A2}" presName="hierChild1" presStyleCnt="0">
        <dgm:presLayoutVars>
          <dgm:chPref val="1"/>
          <dgm:dir/>
          <dgm:animOne val="branch"/>
          <dgm:animLvl val="lvl"/>
          <dgm:resizeHandles/>
        </dgm:presLayoutVars>
      </dgm:prSet>
      <dgm:spPr/>
      <dgm:t>
        <a:bodyPr/>
        <a:lstStyle/>
        <a:p>
          <a:endParaRPr lang="en-US"/>
        </a:p>
      </dgm:t>
    </dgm:pt>
    <dgm:pt modelId="{9F3431C8-1C6C-FC4D-86D6-775F2A384B8A}" type="pres">
      <dgm:prSet presAssocID="{6663E73A-B4D8-114D-9A57-196311397A7B}" presName="hierRoot1" presStyleCnt="0"/>
      <dgm:spPr/>
    </dgm:pt>
    <dgm:pt modelId="{07F08AED-623D-4747-9149-78271DBF14D7}" type="pres">
      <dgm:prSet presAssocID="{6663E73A-B4D8-114D-9A57-196311397A7B}" presName="composite" presStyleCnt="0"/>
      <dgm:spPr/>
    </dgm:pt>
    <dgm:pt modelId="{5B4188E0-2001-2A41-B81C-33BD6C3A74A4}" type="pres">
      <dgm:prSet presAssocID="{6663E73A-B4D8-114D-9A57-196311397A7B}" presName="background" presStyleLbl="node0" presStyleIdx="0" presStyleCnt="1"/>
      <dgm:spPr/>
    </dgm:pt>
    <dgm:pt modelId="{E9296106-F62E-8647-88F3-85C3724E39D6}" type="pres">
      <dgm:prSet presAssocID="{6663E73A-B4D8-114D-9A57-196311397A7B}" presName="text" presStyleLbl="fgAcc0" presStyleIdx="0" presStyleCnt="1">
        <dgm:presLayoutVars>
          <dgm:chPref val="3"/>
        </dgm:presLayoutVars>
      </dgm:prSet>
      <dgm:spPr/>
      <dgm:t>
        <a:bodyPr/>
        <a:lstStyle/>
        <a:p>
          <a:endParaRPr lang="en-US"/>
        </a:p>
      </dgm:t>
    </dgm:pt>
    <dgm:pt modelId="{8C58E3FE-9ED9-DE4F-A4F9-957CD8E258A3}" type="pres">
      <dgm:prSet presAssocID="{6663E73A-B4D8-114D-9A57-196311397A7B}" presName="hierChild2" presStyleCnt="0"/>
      <dgm:spPr/>
    </dgm:pt>
    <dgm:pt modelId="{D9683717-9862-4547-BAD5-C268EE117C3D}" type="pres">
      <dgm:prSet presAssocID="{F7825CC9-CFD7-2E44-B407-197DEBE2A7DA}" presName="Name10" presStyleLbl="parChTrans1D2" presStyleIdx="0" presStyleCnt="2"/>
      <dgm:spPr/>
      <dgm:t>
        <a:bodyPr/>
        <a:lstStyle/>
        <a:p>
          <a:endParaRPr lang="en-US"/>
        </a:p>
      </dgm:t>
    </dgm:pt>
    <dgm:pt modelId="{E42255B2-B50F-204F-AA9C-68EE04E0A488}" type="pres">
      <dgm:prSet presAssocID="{802182A1-5ADE-AA44-BB89-7BC9022A70EB}" presName="hierRoot2" presStyleCnt="0"/>
      <dgm:spPr/>
    </dgm:pt>
    <dgm:pt modelId="{774DF554-D0B3-3C41-8B39-A617EC911223}" type="pres">
      <dgm:prSet presAssocID="{802182A1-5ADE-AA44-BB89-7BC9022A70EB}" presName="composite2" presStyleCnt="0"/>
      <dgm:spPr/>
    </dgm:pt>
    <dgm:pt modelId="{AAA4CF18-69DE-2440-9B48-9ECA1AF258CC}" type="pres">
      <dgm:prSet presAssocID="{802182A1-5ADE-AA44-BB89-7BC9022A70EB}" presName="background2" presStyleLbl="node2" presStyleIdx="0" presStyleCnt="2"/>
      <dgm:spPr/>
    </dgm:pt>
    <dgm:pt modelId="{24C2784C-19B0-0245-B501-21D0AFBE8F3D}" type="pres">
      <dgm:prSet presAssocID="{802182A1-5ADE-AA44-BB89-7BC9022A70EB}" presName="text2" presStyleLbl="fgAcc2" presStyleIdx="0" presStyleCnt="2">
        <dgm:presLayoutVars>
          <dgm:chPref val="3"/>
        </dgm:presLayoutVars>
      </dgm:prSet>
      <dgm:spPr/>
      <dgm:t>
        <a:bodyPr/>
        <a:lstStyle/>
        <a:p>
          <a:endParaRPr lang="en-US"/>
        </a:p>
      </dgm:t>
    </dgm:pt>
    <dgm:pt modelId="{97305F01-B2E7-9242-A090-23C0243424C8}" type="pres">
      <dgm:prSet presAssocID="{802182A1-5ADE-AA44-BB89-7BC9022A70EB}" presName="hierChild3" presStyleCnt="0"/>
      <dgm:spPr/>
    </dgm:pt>
    <dgm:pt modelId="{FA0319DB-71C5-204B-BC07-4172BACAA602}" type="pres">
      <dgm:prSet presAssocID="{8AFCFBBF-8498-8B4C-A142-143E7DB9F0AF}" presName="Name17" presStyleLbl="parChTrans1D3" presStyleIdx="0" presStyleCnt="5"/>
      <dgm:spPr/>
      <dgm:t>
        <a:bodyPr/>
        <a:lstStyle/>
        <a:p>
          <a:endParaRPr lang="en-US"/>
        </a:p>
      </dgm:t>
    </dgm:pt>
    <dgm:pt modelId="{2AEBAA5C-E4A8-F042-BF90-B0E379B27AE0}" type="pres">
      <dgm:prSet presAssocID="{98D6F8A1-CD2F-5848-B34A-2163A26A1F82}" presName="hierRoot3" presStyleCnt="0"/>
      <dgm:spPr/>
    </dgm:pt>
    <dgm:pt modelId="{3EBBF7B2-47F1-B340-B5AE-CC90C0821131}" type="pres">
      <dgm:prSet presAssocID="{98D6F8A1-CD2F-5848-B34A-2163A26A1F82}" presName="composite3" presStyleCnt="0"/>
      <dgm:spPr/>
    </dgm:pt>
    <dgm:pt modelId="{74AF31D7-0972-6946-9066-48C3318DAE1B}" type="pres">
      <dgm:prSet presAssocID="{98D6F8A1-CD2F-5848-B34A-2163A26A1F82}" presName="background3" presStyleLbl="node3" presStyleIdx="0" presStyleCnt="5"/>
      <dgm:spPr/>
    </dgm:pt>
    <dgm:pt modelId="{F9C26814-B1C0-7841-BAFC-D09FB4729128}" type="pres">
      <dgm:prSet presAssocID="{98D6F8A1-CD2F-5848-B34A-2163A26A1F82}" presName="text3" presStyleLbl="fgAcc3" presStyleIdx="0" presStyleCnt="5">
        <dgm:presLayoutVars>
          <dgm:chPref val="3"/>
        </dgm:presLayoutVars>
      </dgm:prSet>
      <dgm:spPr/>
      <dgm:t>
        <a:bodyPr/>
        <a:lstStyle/>
        <a:p>
          <a:endParaRPr lang="en-US"/>
        </a:p>
      </dgm:t>
    </dgm:pt>
    <dgm:pt modelId="{BF18EBB3-7523-A440-B6AA-4DA97195437B}" type="pres">
      <dgm:prSet presAssocID="{98D6F8A1-CD2F-5848-B34A-2163A26A1F82}" presName="hierChild4" presStyleCnt="0"/>
      <dgm:spPr/>
    </dgm:pt>
    <dgm:pt modelId="{DA9697A1-B60D-B445-A4B2-C794D99F7DED}" type="pres">
      <dgm:prSet presAssocID="{6F61C45A-C295-AA4A-9106-BF3946EFF56E}" presName="Name17" presStyleLbl="parChTrans1D3" presStyleIdx="1" presStyleCnt="5"/>
      <dgm:spPr/>
      <dgm:t>
        <a:bodyPr/>
        <a:lstStyle/>
        <a:p>
          <a:endParaRPr lang="en-US"/>
        </a:p>
      </dgm:t>
    </dgm:pt>
    <dgm:pt modelId="{8FDF99A0-9CC2-CE4D-8311-4ABDBC1BFA67}" type="pres">
      <dgm:prSet presAssocID="{DA587967-F97B-8443-ABA9-F15B685FDA3D}" presName="hierRoot3" presStyleCnt="0"/>
      <dgm:spPr/>
    </dgm:pt>
    <dgm:pt modelId="{D8B22428-4E68-1440-9DDC-4D4FB21B8F70}" type="pres">
      <dgm:prSet presAssocID="{DA587967-F97B-8443-ABA9-F15B685FDA3D}" presName="composite3" presStyleCnt="0"/>
      <dgm:spPr/>
    </dgm:pt>
    <dgm:pt modelId="{089CAEF9-7F85-9F4E-9FAE-EF8138C4A61F}" type="pres">
      <dgm:prSet presAssocID="{DA587967-F97B-8443-ABA9-F15B685FDA3D}" presName="background3" presStyleLbl="node3" presStyleIdx="1" presStyleCnt="5"/>
      <dgm:spPr/>
    </dgm:pt>
    <dgm:pt modelId="{6B3CE8A3-4193-A447-A3DE-5867EC266B48}" type="pres">
      <dgm:prSet presAssocID="{DA587967-F97B-8443-ABA9-F15B685FDA3D}" presName="text3" presStyleLbl="fgAcc3" presStyleIdx="1" presStyleCnt="5">
        <dgm:presLayoutVars>
          <dgm:chPref val="3"/>
        </dgm:presLayoutVars>
      </dgm:prSet>
      <dgm:spPr/>
      <dgm:t>
        <a:bodyPr/>
        <a:lstStyle/>
        <a:p>
          <a:endParaRPr lang="en-US"/>
        </a:p>
      </dgm:t>
    </dgm:pt>
    <dgm:pt modelId="{E1CF6762-8D36-784D-B92A-19852E7E98ED}" type="pres">
      <dgm:prSet presAssocID="{DA587967-F97B-8443-ABA9-F15B685FDA3D}" presName="hierChild4" presStyleCnt="0"/>
      <dgm:spPr/>
    </dgm:pt>
    <dgm:pt modelId="{CA67D14E-1714-BC42-8176-F080A0F6E19C}" type="pres">
      <dgm:prSet presAssocID="{86FF8472-279D-D547-A2AF-3637FC72F587}" presName="Name10" presStyleLbl="parChTrans1D2" presStyleIdx="1" presStyleCnt="2"/>
      <dgm:spPr/>
      <dgm:t>
        <a:bodyPr/>
        <a:lstStyle/>
        <a:p>
          <a:endParaRPr lang="en-US"/>
        </a:p>
      </dgm:t>
    </dgm:pt>
    <dgm:pt modelId="{0FD22FC5-7346-804C-98E7-A5530FF04D20}" type="pres">
      <dgm:prSet presAssocID="{EC812E3C-0D85-1E47-B3A6-EE4543E7DAFF}" presName="hierRoot2" presStyleCnt="0"/>
      <dgm:spPr/>
    </dgm:pt>
    <dgm:pt modelId="{1D001FC1-F53C-8246-B876-1C87F65E1133}" type="pres">
      <dgm:prSet presAssocID="{EC812E3C-0D85-1E47-B3A6-EE4543E7DAFF}" presName="composite2" presStyleCnt="0"/>
      <dgm:spPr/>
    </dgm:pt>
    <dgm:pt modelId="{CA089ABA-BDF2-5941-94F6-25DA0B308EAB}" type="pres">
      <dgm:prSet presAssocID="{EC812E3C-0D85-1E47-B3A6-EE4543E7DAFF}" presName="background2" presStyleLbl="node2" presStyleIdx="1" presStyleCnt="2"/>
      <dgm:spPr/>
    </dgm:pt>
    <dgm:pt modelId="{52002310-27AE-984B-9C1F-D87B86EBEF50}" type="pres">
      <dgm:prSet presAssocID="{EC812E3C-0D85-1E47-B3A6-EE4543E7DAFF}" presName="text2" presStyleLbl="fgAcc2" presStyleIdx="1" presStyleCnt="2">
        <dgm:presLayoutVars>
          <dgm:chPref val="3"/>
        </dgm:presLayoutVars>
      </dgm:prSet>
      <dgm:spPr/>
      <dgm:t>
        <a:bodyPr/>
        <a:lstStyle/>
        <a:p>
          <a:endParaRPr lang="en-US"/>
        </a:p>
      </dgm:t>
    </dgm:pt>
    <dgm:pt modelId="{6F083D62-34C1-FE42-8D63-C7BC18CF468C}" type="pres">
      <dgm:prSet presAssocID="{EC812E3C-0D85-1E47-B3A6-EE4543E7DAFF}" presName="hierChild3" presStyleCnt="0"/>
      <dgm:spPr/>
    </dgm:pt>
    <dgm:pt modelId="{F0000284-7B4F-904D-82CB-9995F076D4C7}" type="pres">
      <dgm:prSet presAssocID="{D6A24B47-B65E-A14E-A363-7A3CD0CA13B3}" presName="Name17" presStyleLbl="parChTrans1D3" presStyleIdx="2" presStyleCnt="5"/>
      <dgm:spPr/>
      <dgm:t>
        <a:bodyPr/>
        <a:lstStyle/>
        <a:p>
          <a:endParaRPr lang="en-US"/>
        </a:p>
      </dgm:t>
    </dgm:pt>
    <dgm:pt modelId="{52E2F001-ABB5-2B46-A2AB-FE1F7D63E408}" type="pres">
      <dgm:prSet presAssocID="{ECC431F9-BE1A-7346-9793-CB6E99AA8C2C}" presName="hierRoot3" presStyleCnt="0"/>
      <dgm:spPr/>
    </dgm:pt>
    <dgm:pt modelId="{9CFE9993-35F2-914F-B152-49DE833E1B70}" type="pres">
      <dgm:prSet presAssocID="{ECC431F9-BE1A-7346-9793-CB6E99AA8C2C}" presName="composite3" presStyleCnt="0"/>
      <dgm:spPr/>
    </dgm:pt>
    <dgm:pt modelId="{9B6235EE-FCB7-6146-A772-064D1462F5BB}" type="pres">
      <dgm:prSet presAssocID="{ECC431F9-BE1A-7346-9793-CB6E99AA8C2C}" presName="background3" presStyleLbl="node3" presStyleIdx="2" presStyleCnt="5"/>
      <dgm:spPr/>
    </dgm:pt>
    <dgm:pt modelId="{926C5F33-D731-CE49-AC3B-068060A85552}" type="pres">
      <dgm:prSet presAssocID="{ECC431F9-BE1A-7346-9793-CB6E99AA8C2C}" presName="text3" presStyleLbl="fgAcc3" presStyleIdx="2" presStyleCnt="5">
        <dgm:presLayoutVars>
          <dgm:chPref val="3"/>
        </dgm:presLayoutVars>
      </dgm:prSet>
      <dgm:spPr/>
      <dgm:t>
        <a:bodyPr/>
        <a:lstStyle/>
        <a:p>
          <a:endParaRPr lang="en-US"/>
        </a:p>
      </dgm:t>
    </dgm:pt>
    <dgm:pt modelId="{E056AE80-BE23-C14D-9A18-D3645F7F0E11}" type="pres">
      <dgm:prSet presAssocID="{ECC431F9-BE1A-7346-9793-CB6E99AA8C2C}" presName="hierChild4" presStyleCnt="0"/>
      <dgm:spPr/>
    </dgm:pt>
    <dgm:pt modelId="{EB5AB1D4-61A4-2141-B165-05D7E1B77017}" type="pres">
      <dgm:prSet presAssocID="{8BECD19C-01B0-3A42-8370-4B8EBB3B6C41}" presName="Name17" presStyleLbl="parChTrans1D3" presStyleIdx="3" presStyleCnt="5"/>
      <dgm:spPr/>
      <dgm:t>
        <a:bodyPr/>
        <a:lstStyle/>
        <a:p>
          <a:endParaRPr lang="en-US"/>
        </a:p>
      </dgm:t>
    </dgm:pt>
    <dgm:pt modelId="{EF80A286-231A-6740-AB1F-23E9C71927F8}" type="pres">
      <dgm:prSet presAssocID="{E8F63ACE-5A67-F84F-974F-C3D55C66491F}" presName="hierRoot3" presStyleCnt="0"/>
      <dgm:spPr/>
    </dgm:pt>
    <dgm:pt modelId="{F3A1A62D-FABF-0544-A9AC-150B515B5ADD}" type="pres">
      <dgm:prSet presAssocID="{E8F63ACE-5A67-F84F-974F-C3D55C66491F}" presName="composite3" presStyleCnt="0"/>
      <dgm:spPr/>
    </dgm:pt>
    <dgm:pt modelId="{6BCC06CB-50AF-C241-9AD3-30809DF07953}" type="pres">
      <dgm:prSet presAssocID="{E8F63ACE-5A67-F84F-974F-C3D55C66491F}" presName="background3" presStyleLbl="node3" presStyleIdx="3" presStyleCnt="5"/>
      <dgm:spPr/>
    </dgm:pt>
    <dgm:pt modelId="{6E30F14D-AC40-6E42-9EA8-A9032874E3F3}" type="pres">
      <dgm:prSet presAssocID="{E8F63ACE-5A67-F84F-974F-C3D55C66491F}" presName="text3" presStyleLbl="fgAcc3" presStyleIdx="3" presStyleCnt="5">
        <dgm:presLayoutVars>
          <dgm:chPref val="3"/>
        </dgm:presLayoutVars>
      </dgm:prSet>
      <dgm:spPr/>
      <dgm:t>
        <a:bodyPr/>
        <a:lstStyle/>
        <a:p>
          <a:endParaRPr lang="en-US"/>
        </a:p>
      </dgm:t>
    </dgm:pt>
    <dgm:pt modelId="{C21977CC-22C7-5A45-ACF8-0A9AE9E313D7}" type="pres">
      <dgm:prSet presAssocID="{E8F63ACE-5A67-F84F-974F-C3D55C66491F}" presName="hierChild4" presStyleCnt="0"/>
      <dgm:spPr/>
    </dgm:pt>
    <dgm:pt modelId="{F03843B2-AB90-1349-8363-507B166BBE58}" type="pres">
      <dgm:prSet presAssocID="{570CF867-247E-F548-AE57-40A2DEFDEC01}" presName="Name17" presStyleLbl="parChTrans1D3" presStyleIdx="4" presStyleCnt="5"/>
      <dgm:spPr/>
      <dgm:t>
        <a:bodyPr/>
        <a:lstStyle/>
        <a:p>
          <a:endParaRPr lang="en-US"/>
        </a:p>
      </dgm:t>
    </dgm:pt>
    <dgm:pt modelId="{F55FE8D0-0881-2F4E-A119-2EEEE11EED55}" type="pres">
      <dgm:prSet presAssocID="{382190E2-7F8D-D44F-A664-F248D46D1BD4}" presName="hierRoot3" presStyleCnt="0"/>
      <dgm:spPr/>
    </dgm:pt>
    <dgm:pt modelId="{E983E05E-E140-A840-AE1B-737CF1FE76BE}" type="pres">
      <dgm:prSet presAssocID="{382190E2-7F8D-D44F-A664-F248D46D1BD4}" presName="composite3" presStyleCnt="0"/>
      <dgm:spPr/>
    </dgm:pt>
    <dgm:pt modelId="{2CF135BE-19FB-FB4B-B6DC-BD522009A607}" type="pres">
      <dgm:prSet presAssocID="{382190E2-7F8D-D44F-A664-F248D46D1BD4}" presName="background3" presStyleLbl="node3" presStyleIdx="4" presStyleCnt="5"/>
      <dgm:spPr/>
    </dgm:pt>
    <dgm:pt modelId="{36FB17DA-5A17-F444-AEAA-80B1C922D72B}" type="pres">
      <dgm:prSet presAssocID="{382190E2-7F8D-D44F-A664-F248D46D1BD4}" presName="text3" presStyleLbl="fgAcc3" presStyleIdx="4" presStyleCnt="5">
        <dgm:presLayoutVars>
          <dgm:chPref val="3"/>
        </dgm:presLayoutVars>
      </dgm:prSet>
      <dgm:spPr/>
      <dgm:t>
        <a:bodyPr/>
        <a:lstStyle/>
        <a:p>
          <a:endParaRPr lang="en-US"/>
        </a:p>
      </dgm:t>
    </dgm:pt>
    <dgm:pt modelId="{E6E4DB60-0BA7-574F-B533-478F7C779275}" type="pres">
      <dgm:prSet presAssocID="{382190E2-7F8D-D44F-A664-F248D46D1BD4}" presName="hierChild4" presStyleCnt="0"/>
      <dgm:spPr/>
    </dgm:pt>
  </dgm:ptLst>
  <dgm:cxnLst>
    <dgm:cxn modelId="{06C51B1F-11C6-EE41-9417-29F2E1FDEAEF}" type="presOf" srcId="{6663E73A-B4D8-114D-9A57-196311397A7B}" destId="{E9296106-F62E-8647-88F3-85C3724E39D6}" srcOrd="0" destOrd="0" presId="urn:microsoft.com/office/officeart/2005/8/layout/hierarchy1"/>
    <dgm:cxn modelId="{24476AFC-7DDE-6449-8442-C1BECD5520E2}" srcId="{EC812E3C-0D85-1E47-B3A6-EE4543E7DAFF}" destId="{382190E2-7F8D-D44F-A664-F248D46D1BD4}" srcOrd="2" destOrd="0" parTransId="{570CF867-247E-F548-AE57-40A2DEFDEC01}" sibTransId="{C85A28BE-31E0-FB47-8956-9A70C1E7A0C1}"/>
    <dgm:cxn modelId="{4220C21F-6085-BF46-ABF3-4C9B443045EF}" type="presOf" srcId="{802182A1-5ADE-AA44-BB89-7BC9022A70EB}" destId="{24C2784C-19B0-0245-B501-21D0AFBE8F3D}" srcOrd="0" destOrd="0" presId="urn:microsoft.com/office/officeart/2005/8/layout/hierarchy1"/>
    <dgm:cxn modelId="{AFFAF1C2-B9C6-0F46-A2E0-AA3A2862E00E}" srcId="{6663E73A-B4D8-114D-9A57-196311397A7B}" destId="{EC812E3C-0D85-1E47-B3A6-EE4543E7DAFF}" srcOrd="1" destOrd="0" parTransId="{86FF8472-279D-D547-A2AF-3637FC72F587}" sibTransId="{9CBF0B23-FEFA-5E43-BC15-C7D42A5D2A9D}"/>
    <dgm:cxn modelId="{5C7D03D8-9680-7644-9F73-98C208036A12}" type="presOf" srcId="{F7825CC9-CFD7-2E44-B407-197DEBE2A7DA}" destId="{D9683717-9862-4547-BAD5-C268EE117C3D}" srcOrd="0" destOrd="0" presId="urn:microsoft.com/office/officeart/2005/8/layout/hierarchy1"/>
    <dgm:cxn modelId="{683CFFF3-747B-FD41-B81D-9F7767B80CE2}" type="presOf" srcId="{86FF8472-279D-D547-A2AF-3637FC72F587}" destId="{CA67D14E-1714-BC42-8176-F080A0F6E19C}" srcOrd="0" destOrd="0" presId="urn:microsoft.com/office/officeart/2005/8/layout/hierarchy1"/>
    <dgm:cxn modelId="{308A6FE0-89D6-8D4D-BF54-E0AC81D02E8D}" type="presOf" srcId="{98D6F8A1-CD2F-5848-B34A-2163A26A1F82}" destId="{F9C26814-B1C0-7841-BAFC-D09FB4729128}" srcOrd="0" destOrd="0" presId="urn:microsoft.com/office/officeart/2005/8/layout/hierarchy1"/>
    <dgm:cxn modelId="{35C0EB32-E0EB-0F4E-9F42-8FE7CA3DB86D}" type="presOf" srcId="{D6A24B47-B65E-A14E-A363-7A3CD0CA13B3}" destId="{F0000284-7B4F-904D-82CB-9995F076D4C7}" srcOrd="0" destOrd="0" presId="urn:microsoft.com/office/officeart/2005/8/layout/hierarchy1"/>
    <dgm:cxn modelId="{4750CA7B-432A-5D41-B1E7-05A1D3B6AFBA}" type="presOf" srcId="{6F61C45A-C295-AA4A-9106-BF3946EFF56E}" destId="{DA9697A1-B60D-B445-A4B2-C794D99F7DED}" srcOrd="0" destOrd="0" presId="urn:microsoft.com/office/officeart/2005/8/layout/hierarchy1"/>
    <dgm:cxn modelId="{D5F1C473-F3C8-C240-8257-356B8E197581}" srcId="{802182A1-5ADE-AA44-BB89-7BC9022A70EB}" destId="{98D6F8A1-CD2F-5848-B34A-2163A26A1F82}" srcOrd="0" destOrd="0" parTransId="{8AFCFBBF-8498-8B4C-A142-143E7DB9F0AF}" sibTransId="{1F56F18A-6E91-9E49-849A-DE0DDE2CFBFA}"/>
    <dgm:cxn modelId="{A0553FDA-A0A2-F949-8857-F7270384FEAA}" srcId="{6663E73A-B4D8-114D-9A57-196311397A7B}" destId="{802182A1-5ADE-AA44-BB89-7BC9022A70EB}" srcOrd="0" destOrd="0" parTransId="{F7825CC9-CFD7-2E44-B407-197DEBE2A7DA}" sibTransId="{E3676011-911F-664F-BADD-D08DE76F3005}"/>
    <dgm:cxn modelId="{3ED6F3BF-2B12-1648-9E7F-3E4B0A698690}" type="presOf" srcId="{382190E2-7F8D-D44F-A664-F248D46D1BD4}" destId="{36FB17DA-5A17-F444-AEAA-80B1C922D72B}" srcOrd="0" destOrd="0" presId="urn:microsoft.com/office/officeart/2005/8/layout/hierarchy1"/>
    <dgm:cxn modelId="{BC04DEA8-8926-F544-A9BC-D0E3609182C8}" srcId="{802182A1-5ADE-AA44-BB89-7BC9022A70EB}" destId="{DA587967-F97B-8443-ABA9-F15B685FDA3D}" srcOrd="1" destOrd="0" parTransId="{6F61C45A-C295-AA4A-9106-BF3946EFF56E}" sibTransId="{CB6742D1-4CE5-C847-B781-3A4B78DCF6B0}"/>
    <dgm:cxn modelId="{2B6CC884-9AEE-7743-9034-B2CBF27AECB3}" type="presOf" srcId="{DA587967-F97B-8443-ABA9-F15B685FDA3D}" destId="{6B3CE8A3-4193-A447-A3DE-5867EC266B48}" srcOrd="0" destOrd="0" presId="urn:microsoft.com/office/officeart/2005/8/layout/hierarchy1"/>
    <dgm:cxn modelId="{9E7CCB21-0344-6147-AB53-4E22BA4144D6}" type="presOf" srcId="{FD2DC9C9-CCF8-6D47-A8AF-7E8440F609A2}" destId="{041119CE-361E-6D4A-9899-F5AB6B6B890A}" srcOrd="0" destOrd="0" presId="urn:microsoft.com/office/officeart/2005/8/layout/hierarchy1"/>
    <dgm:cxn modelId="{FA5E6253-B9B7-9343-8115-B80E47191AFD}" type="presOf" srcId="{570CF867-247E-F548-AE57-40A2DEFDEC01}" destId="{F03843B2-AB90-1349-8363-507B166BBE58}" srcOrd="0" destOrd="0" presId="urn:microsoft.com/office/officeart/2005/8/layout/hierarchy1"/>
    <dgm:cxn modelId="{FB7C4340-A45C-C647-8D38-4460F9414DAA}" srcId="{EC812E3C-0D85-1E47-B3A6-EE4543E7DAFF}" destId="{ECC431F9-BE1A-7346-9793-CB6E99AA8C2C}" srcOrd="0" destOrd="0" parTransId="{D6A24B47-B65E-A14E-A363-7A3CD0CA13B3}" sibTransId="{AB8A828C-5589-E74A-8B6F-E870B402B376}"/>
    <dgm:cxn modelId="{1F10E92E-76B3-744C-A2F5-8F75D0367526}" type="presOf" srcId="{E8F63ACE-5A67-F84F-974F-C3D55C66491F}" destId="{6E30F14D-AC40-6E42-9EA8-A9032874E3F3}" srcOrd="0" destOrd="0" presId="urn:microsoft.com/office/officeart/2005/8/layout/hierarchy1"/>
    <dgm:cxn modelId="{2F19A82D-0AA0-A849-A409-9BDD63603DF3}" srcId="{FD2DC9C9-CCF8-6D47-A8AF-7E8440F609A2}" destId="{6663E73A-B4D8-114D-9A57-196311397A7B}" srcOrd="0" destOrd="0" parTransId="{2BDE6DBF-B01B-3948-A29F-997B5AA29D1B}" sibTransId="{8468B152-B44E-2D4F-96D8-E18658D2ED91}"/>
    <dgm:cxn modelId="{35B86221-396F-8440-88BD-7EBE7E515981}" type="presOf" srcId="{8BECD19C-01B0-3A42-8370-4B8EBB3B6C41}" destId="{EB5AB1D4-61A4-2141-B165-05D7E1B77017}" srcOrd="0" destOrd="0" presId="urn:microsoft.com/office/officeart/2005/8/layout/hierarchy1"/>
    <dgm:cxn modelId="{3CD31F0F-DC0C-7D4D-B483-4BD7A86BAC66}" srcId="{EC812E3C-0D85-1E47-B3A6-EE4543E7DAFF}" destId="{E8F63ACE-5A67-F84F-974F-C3D55C66491F}" srcOrd="1" destOrd="0" parTransId="{8BECD19C-01B0-3A42-8370-4B8EBB3B6C41}" sibTransId="{81EAEF97-6861-F946-90DF-EF99A396D54C}"/>
    <dgm:cxn modelId="{26113592-44EC-2142-91ED-F12BDAE7B6E4}" type="presOf" srcId="{EC812E3C-0D85-1E47-B3A6-EE4543E7DAFF}" destId="{52002310-27AE-984B-9C1F-D87B86EBEF50}" srcOrd="0" destOrd="0" presId="urn:microsoft.com/office/officeart/2005/8/layout/hierarchy1"/>
    <dgm:cxn modelId="{3D5E9A88-E4BB-1E4E-A99E-BF1FB425E7B9}" type="presOf" srcId="{ECC431F9-BE1A-7346-9793-CB6E99AA8C2C}" destId="{926C5F33-D731-CE49-AC3B-068060A85552}" srcOrd="0" destOrd="0" presId="urn:microsoft.com/office/officeart/2005/8/layout/hierarchy1"/>
    <dgm:cxn modelId="{2EB82557-096B-D34F-AE8D-79F2C53B392B}" type="presOf" srcId="{8AFCFBBF-8498-8B4C-A142-143E7DB9F0AF}" destId="{FA0319DB-71C5-204B-BC07-4172BACAA602}" srcOrd="0" destOrd="0" presId="urn:microsoft.com/office/officeart/2005/8/layout/hierarchy1"/>
    <dgm:cxn modelId="{2E7B5278-D192-0345-8C17-EC649202AF16}" type="presParOf" srcId="{041119CE-361E-6D4A-9899-F5AB6B6B890A}" destId="{9F3431C8-1C6C-FC4D-86D6-775F2A384B8A}" srcOrd="0" destOrd="0" presId="urn:microsoft.com/office/officeart/2005/8/layout/hierarchy1"/>
    <dgm:cxn modelId="{34C895C9-10F1-094C-B6D3-3FCE76C9869F}" type="presParOf" srcId="{9F3431C8-1C6C-FC4D-86D6-775F2A384B8A}" destId="{07F08AED-623D-4747-9149-78271DBF14D7}" srcOrd="0" destOrd="0" presId="urn:microsoft.com/office/officeart/2005/8/layout/hierarchy1"/>
    <dgm:cxn modelId="{249CD53B-B497-3744-ABF7-664DCA6081C3}" type="presParOf" srcId="{07F08AED-623D-4747-9149-78271DBF14D7}" destId="{5B4188E0-2001-2A41-B81C-33BD6C3A74A4}" srcOrd="0" destOrd="0" presId="urn:microsoft.com/office/officeart/2005/8/layout/hierarchy1"/>
    <dgm:cxn modelId="{F5265EBB-889C-E74B-A9EC-53289DDCAA7C}" type="presParOf" srcId="{07F08AED-623D-4747-9149-78271DBF14D7}" destId="{E9296106-F62E-8647-88F3-85C3724E39D6}" srcOrd="1" destOrd="0" presId="urn:microsoft.com/office/officeart/2005/8/layout/hierarchy1"/>
    <dgm:cxn modelId="{E5329E09-903D-5F4D-B505-62982E6F966B}" type="presParOf" srcId="{9F3431C8-1C6C-FC4D-86D6-775F2A384B8A}" destId="{8C58E3FE-9ED9-DE4F-A4F9-957CD8E258A3}" srcOrd="1" destOrd="0" presId="urn:microsoft.com/office/officeart/2005/8/layout/hierarchy1"/>
    <dgm:cxn modelId="{8EA8286F-B313-6D46-A503-05C9AF329ED9}" type="presParOf" srcId="{8C58E3FE-9ED9-DE4F-A4F9-957CD8E258A3}" destId="{D9683717-9862-4547-BAD5-C268EE117C3D}" srcOrd="0" destOrd="0" presId="urn:microsoft.com/office/officeart/2005/8/layout/hierarchy1"/>
    <dgm:cxn modelId="{EA34ED72-E5D0-E84A-AA52-E8A3F7820201}" type="presParOf" srcId="{8C58E3FE-9ED9-DE4F-A4F9-957CD8E258A3}" destId="{E42255B2-B50F-204F-AA9C-68EE04E0A488}" srcOrd="1" destOrd="0" presId="urn:microsoft.com/office/officeart/2005/8/layout/hierarchy1"/>
    <dgm:cxn modelId="{85835840-6BA7-FA44-B9F1-20FB8911C138}" type="presParOf" srcId="{E42255B2-B50F-204F-AA9C-68EE04E0A488}" destId="{774DF554-D0B3-3C41-8B39-A617EC911223}" srcOrd="0" destOrd="0" presId="urn:microsoft.com/office/officeart/2005/8/layout/hierarchy1"/>
    <dgm:cxn modelId="{88FAF2F4-992E-4D49-9623-AE3BE2CA2D58}" type="presParOf" srcId="{774DF554-D0B3-3C41-8B39-A617EC911223}" destId="{AAA4CF18-69DE-2440-9B48-9ECA1AF258CC}" srcOrd="0" destOrd="0" presId="urn:microsoft.com/office/officeart/2005/8/layout/hierarchy1"/>
    <dgm:cxn modelId="{1781309B-4BF5-364D-B9F2-84B956823E56}" type="presParOf" srcId="{774DF554-D0B3-3C41-8B39-A617EC911223}" destId="{24C2784C-19B0-0245-B501-21D0AFBE8F3D}" srcOrd="1" destOrd="0" presId="urn:microsoft.com/office/officeart/2005/8/layout/hierarchy1"/>
    <dgm:cxn modelId="{F2B449E6-34E3-304E-BBDB-BBBF2FFC9E0E}" type="presParOf" srcId="{E42255B2-B50F-204F-AA9C-68EE04E0A488}" destId="{97305F01-B2E7-9242-A090-23C0243424C8}" srcOrd="1" destOrd="0" presId="urn:microsoft.com/office/officeart/2005/8/layout/hierarchy1"/>
    <dgm:cxn modelId="{8DAB36A9-F617-DE45-B9CC-1865F0952E27}" type="presParOf" srcId="{97305F01-B2E7-9242-A090-23C0243424C8}" destId="{FA0319DB-71C5-204B-BC07-4172BACAA602}" srcOrd="0" destOrd="0" presId="urn:microsoft.com/office/officeart/2005/8/layout/hierarchy1"/>
    <dgm:cxn modelId="{971830F9-E5B8-7240-82D9-15C1E98F872A}" type="presParOf" srcId="{97305F01-B2E7-9242-A090-23C0243424C8}" destId="{2AEBAA5C-E4A8-F042-BF90-B0E379B27AE0}" srcOrd="1" destOrd="0" presId="urn:microsoft.com/office/officeart/2005/8/layout/hierarchy1"/>
    <dgm:cxn modelId="{144AA676-F118-4247-9CCA-A79670BA0226}" type="presParOf" srcId="{2AEBAA5C-E4A8-F042-BF90-B0E379B27AE0}" destId="{3EBBF7B2-47F1-B340-B5AE-CC90C0821131}" srcOrd="0" destOrd="0" presId="urn:microsoft.com/office/officeart/2005/8/layout/hierarchy1"/>
    <dgm:cxn modelId="{5A83A634-9D1E-F14D-8A74-5F84C767292B}" type="presParOf" srcId="{3EBBF7B2-47F1-B340-B5AE-CC90C0821131}" destId="{74AF31D7-0972-6946-9066-48C3318DAE1B}" srcOrd="0" destOrd="0" presId="urn:microsoft.com/office/officeart/2005/8/layout/hierarchy1"/>
    <dgm:cxn modelId="{4CC6DB46-7E31-A945-92C2-9860B59B03A1}" type="presParOf" srcId="{3EBBF7B2-47F1-B340-B5AE-CC90C0821131}" destId="{F9C26814-B1C0-7841-BAFC-D09FB4729128}" srcOrd="1" destOrd="0" presId="urn:microsoft.com/office/officeart/2005/8/layout/hierarchy1"/>
    <dgm:cxn modelId="{52EEA030-5C9E-CD42-B30C-4368A334F671}" type="presParOf" srcId="{2AEBAA5C-E4A8-F042-BF90-B0E379B27AE0}" destId="{BF18EBB3-7523-A440-B6AA-4DA97195437B}" srcOrd="1" destOrd="0" presId="urn:microsoft.com/office/officeart/2005/8/layout/hierarchy1"/>
    <dgm:cxn modelId="{F7994BB9-90FA-0B45-8ACE-A61B6A0A15E2}" type="presParOf" srcId="{97305F01-B2E7-9242-A090-23C0243424C8}" destId="{DA9697A1-B60D-B445-A4B2-C794D99F7DED}" srcOrd="2" destOrd="0" presId="urn:microsoft.com/office/officeart/2005/8/layout/hierarchy1"/>
    <dgm:cxn modelId="{AA5B8E1C-F3C5-0D47-AF32-35D4BEF5D41C}" type="presParOf" srcId="{97305F01-B2E7-9242-A090-23C0243424C8}" destId="{8FDF99A0-9CC2-CE4D-8311-4ABDBC1BFA67}" srcOrd="3" destOrd="0" presId="urn:microsoft.com/office/officeart/2005/8/layout/hierarchy1"/>
    <dgm:cxn modelId="{2DDA1BC9-D313-1140-AE59-0C62617E235C}" type="presParOf" srcId="{8FDF99A0-9CC2-CE4D-8311-4ABDBC1BFA67}" destId="{D8B22428-4E68-1440-9DDC-4D4FB21B8F70}" srcOrd="0" destOrd="0" presId="urn:microsoft.com/office/officeart/2005/8/layout/hierarchy1"/>
    <dgm:cxn modelId="{1E8BC751-A330-0D4A-B048-F177F2813250}" type="presParOf" srcId="{D8B22428-4E68-1440-9DDC-4D4FB21B8F70}" destId="{089CAEF9-7F85-9F4E-9FAE-EF8138C4A61F}" srcOrd="0" destOrd="0" presId="urn:microsoft.com/office/officeart/2005/8/layout/hierarchy1"/>
    <dgm:cxn modelId="{18AD72A0-7D08-A340-B720-263C908C2A59}" type="presParOf" srcId="{D8B22428-4E68-1440-9DDC-4D4FB21B8F70}" destId="{6B3CE8A3-4193-A447-A3DE-5867EC266B48}" srcOrd="1" destOrd="0" presId="urn:microsoft.com/office/officeart/2005/8/layout/hierarchy1"/>
    <dgm:cxn modelId="{5432482C-D2D6-0640-81F2-E1D7EAFB4375}" type="presParOf" srcId="{8FDF99A0-9CC2-CE4D-8311-4ABDBC1BFA67}" destId="{E1CF6762-8D36-784D-B92A-19852E7E98ED}" srcOrd="1" destOrd="0" presId="urn:microsoft.com/office/officeart/2005/8/layout/hierarchy1"/>
    <dgm:cxn modelId="{C65186D4-ED37-D54B-A9F5-B603B4498D5A}" type="presParOf" srcId="{8C58E3FE-9ED9-DE4F-A4F9-957CD8E258A3}" destId="{CA67D14E-1714-BC42-8176-F080A0F6E19C}" srcOrd="2" destOrd="0" presId="urn:microsoft.com/office/officeart/2005/8/layout/hierarchy1"/>
    <dgm:cxn modelId="{1DD08557-42EA-1D40-824D-691BF39EC9AF}" type="presParOf" srcId="{8C58E3FE-9ED9-DE4F-A4F9-957CD8E258A3}" destId="{0FD22FC5-7346-804C-98E7-A5530FF04D20}" srcOrd="3" destOrd="0" presId="urn:microsoft.com/office/officeart/2005/8/layout/hierarchy1"/>
    <dgm:cxn modelId="{409AC406-F100-0A4E-BC21-C10C119150D9}" type="presParOf" srcId="{0FD22FC5-7346-804C-98E7-A5530FF04D20}" destId="{1D001FC1-F53C-8246-B876-1C87F65E1133}" srcOrd="0" destOrd="0" presId="urn:microsoft.com/office/officeart/2005/8/layout/hierarchy1"/>
    <dgm:cxn modelId="{D5329F11-D9DC-F24A-BA4B-453CFB1CED4B}" type="presParOf" srcId="{1D001FC1-F53C-8246-B876-1C87F65E1133}" destId="{CA089ABA-BDF2-5941-94F6-25DA0B308EAB}" srcOrd="0" destOrd="0" presId="urn:microsoft.com/office/officeart/2005/8/layout/hierarchy1"/>
    <dgm:cxn modelId="{7CB290D9-C82B-BF4F-AF6E-BE8439B1A310}" type="presParOf" srcId="{1D001FC1-F53C-8246-B876-1C87F65E1133}" destId="{52002310-27AE-984B-9C1F-D87B86EBEF50}" srcOrd="1" destOrd="0" presId="urn:microsoft.com/office/officeart/2005/8/layout/hierarchy1"/>
    <dgm:cxn modelId="{07CA02A7-4411-0B40-84AE-B45CE58D485A}" type="presParOf" srcId="{0FD22FC5-7346-804C-98E7-A5530FF04D20}" destId="{6F083D62-34C1-FE42-8D63-C7BC18CF468C}" srcOrd="1" destOrd="0" presId="urn:microsoft.com/office/officeart/2005/8/layout/hierarchy1"/>
    <dgm:cxn modelId="{50272DD4-906B-2A42-80EF-C0863F39DD3B}" type="presParOf" srcId="{6F083D62-34C1-FE42-8D63-C7BC18CF468C}" destId="{F0000284-7B4F-904D-82CB-9995F076D4C7}" srcOrd="0" destOrd="0" presId="urn:microsoft.com/office/officeart/2005/8/layout/hierarchy1"/>
    <dgm:cxn modelId="{288A7C07-3737-504D-A30E-E29245DB01FA}" type="presParOf" srcId="{6F083D62-34C1-FE42-8D63-C7BC18CF468C}" destId="{52E2F001-ABB5-2B46-A2AB-FE1F7D63E408}" srcOrd="1" destOrd="0" presId="urn:microsoft.com/office/officeart/2005/8/layout/hierarchy1"/>
    <dgm:cxn modelId="{25F2142C-85B1-914E-8033-7467E4211D7D}" type="presParOf" srcId="{52E2F001-ABB5-2B46-A2AB-FE1F7D63E408}" destId="{9CFE9993-35F2-914F-B152-49DE833E1B70}" srcOrd="0" destOrd="0" presId="urn:microsoft.com/office/officeart/2005/8/layout/hierarchy1"/>
    <dgm:cxn modelId="{9698578A-8995-004B-84F6-43D07AEFE15C}" type="presParOf" srcId="{9CFE9993-35F2-914F-B152-49DE833E1B70}" destId="{9B6235EE-FCB7-6146-A772-064D1462F5BB}" srcOrd="0" destOrd="0" presId="urn:microsoft.com/office/officeart/2005/8/layout/hierarchy1"/>
    <dgm:cxn modelId="{9C014F13-A7A7-8746-9B68-A62081294B38}" type="presParOf" srcId="{9CFE9993-35F2-914F-B152-49DE833E1B70}" destId="{926C5F33-D731-CE49-AC3B-068060A85552}" srcOrd="1" destOrd="0" presId="urn:microsoft.com/office/officeart/2005/8/layout/hierarchy1"/>
    <dgm:cxn modelId="{2B69A4FE-5E3C-E34F-8605-6D04B732066A}" type="presParOf" srcId="{52E2F001-ABB5-2B46-A2AB-FE1F7D63E408}" destId="{E056AE80-BE23-C14D-9A18-D3645F7F0E11}" srcOrd="1" destOrd="0" presId="urn:microsoft.com/office/officeart/2005/8/layout/hierarchy1"/>
    <dgm:cxn modelId="{FEE9ABAB-C558-B346-81B5-B9005CF0B901}" type="presParOf" srcId="{6F083D62-34C1-FE42-8D63-C7BC18CF468C}" destId="{EB5AB1D4-61A4-2141-B165-05D7E1B77017}" srcOrd="2" destOrd="0" presId="urn:microsoft.com/office/officeart/2005/8/layout/hierarchy1"/>
    <dgm:cxn modelId="{4F4F02DF-EAF2-AD46-A1BB-160D8BB728AD}" type="presParOf" srcId="{6F083D62-34C1-FE42-8D63-C7BC18CF468C}" destId="{EF80A286-231A-6740-AB1F-23E9C71927F8}" srcOrd="3" destOrd="0" presId="urn:microsoft.com/office/officeart/2005/8/layout/hierarchy1"/>
    <dgm:cxn modelId="{104227BF-942E-314F-ABDD-13F3692733F1}" type="presParOf" srcId="{EF80A286-231A-6740-AB1F-23E9C71927F8}" destId="{F3A1A62D-FABF-0544-A9AC-150B515B5ADD}" srcOrd="0" destOrd="0" presId="urn:microsoft.com/office/officeart/2005/8/layout/hierarchy1"/>
    <dgm:cxn modelId="{C361219C-A519-C849-A2BE-75C0AE385016}" type="presParOf" srcId="{F3A1A62D-FABF-0544-A9AC-150B515B5ADD}" destId="{6BCC06CB-50AF-C241-9AD3-30809DF07953}" srcOrd="0" destOrd="0" presId="urn:microsoft.com/office/officeart/2005/8/layout/hierarchy1"/>
    <dgm:cxn modelId="{92E1B88F-DC99-EE46-A86A-FE76635FEB10}" type="presParOf" srcId="{F3A1A62D-FABF-0544-A9AC-150B515B5ADD}" destId="{6E30F14D-AC40-6E42-9EA8-A9032874E3F3}" srcOrd="1" destOrd="0" presId="urn:microsoft.com/office/officeart/2005/8/layout/hierarchy1"/>
    <dgm:cxn modelId="{64B21BE5-CFC1-7248-9049-831912C86530}" type="presParOf" srcId="{EF80A286-231A-6740-AB1F-23E9C71927F8}" destId="{C21977CC-22C7-5A45-ACF8-0A9AE9E313D7}" srcOrd="1" destOrd="0" presId="urn:microsoft.com/office/officeart/2005/8/layout/hierarchy1"/>
    <dgm:cxn modelId="{8E40B240-3657-DE4E-9A58-C29CA937B0E5}" type="presParOf" srcId="{6F083D62-34C1-FE42-8D63-C7BC18CF468C}" destId="{F03843B2-AB90-1349-8363-507B166BBE58}" srcOrd="4" destOrd="0" presId="urn:microsoft.com/office/officeart/2005/8/layout/hierarchy1"/>
    <dgm:cxn modelId="{C01E61C6-478F-2847-AA2F-3D50F3D93FD7}" type="presParOf" srcId="{6F083D62-34C1-FE42-8D63-C7BC18CF468C}" destId="{F55FE8D0-0881-2F4E-A119-2EEEE11EED55}" srcOrd="5" destOrd="0" presId="urn:microsoft.com/office/officeart/2005/8/layout/hierarchy1"/>
    <dgm:cxn modelId="{98F6BE16-5FDD-F04F-A9F9-E0268D66A1DD}" type="presParOf" srcId="{F55FE8D0-0881-2F4E-A119-2EEEE11EED55}" destId="{E983E05E-E140-A840-AE1B-737CF1FE76BE}" srcOrd="0" destOrd="0" presId="urn:microsoft.com/office/officeart/2005/8/layout/hierarchy1"/>
    <dgm:cxn modelId="{DD824038-4993-A945-9618-E53E1EFA1B81}" type="presParOf" srcId="{E983E05E-E140-A840-AE1B-737CF1FE76BE}" destId="{2CF135BE-19FB-FB4B-B6DC-BD522009A607}" srcOrd="0" destOrd="0" presId="urn:microsoft.com/office/officeart/2005/8/layout/hierarchy1"/>
    <dgm:cxn modelId="{7A71CF98-25EC-F74A-9822-1EECBF539FE2}" type="presParOf" srcId="{E983E05E-E140-A840-AE1B-737CF1FE76BE}" destId="{36FB17DA-5A17-F444-AEAA-80B1C922D72B}" srcOrd="1" destOrd="0" presId="urn:microsoft.com/office/officeart/2005/8/layout/hierarchy1"/>
    <dgm:cxn modelId="{BED8A1AE-02A4-6347-B2BD-281A91A06832}" type="presParOf" srcId="{F55FE8D0-0881-2F4E-A119-2EEEE11EED55}" destId="{E6E4DB60-0BA7-574F-B533-478F7C779275}" srcOrd="1" destOrd="0" presId="urn:microsoft.com/office/officeart/2005/8/layout/hierarchy1"/>
  </dgm:cxnLst>
  <dgm:bg>
    <a:noFill/>
  </dgm:bg>
  <dgm:whole>
    <a:ln w="57150" cmpd="sn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5.xml><?xml version="1.0" encoding="utf-8"?>
<dgm:dataModel xmlns:dgm="http://schemas.openxmlformats.org/drawingml/2006/diagram" xmlns:a="http://schemas.openxmlformats.org/drawingml/2006/main">
  <dgm:ptLst>
    <dgm:pt modelId="{FD2DC9C9-CCF8-6D47-A8AF-7E8440F609A2}" type="doc">
      <dgm:prSet loTypeId="urn:microsoft.com/office/officeart/2005/8/layout/hierarchy1" loCatId="" qsTypeId="urn:microsoft.com/office/officeart/2005/8/quickstyle/simple4" qsCatId="simple" csTypeId="urn:microsoft.com/office/officeart/2005/8/colors/accent1_2" csCatId="accent1" phldr="1"/>
      <dgm:spPr/>
      <dgm:t>
        <a:bodyPr/>
        <a:lstStyle/>
        <a:p>
          <a:endParaRPr lang="en-US"/>
        </a:p>
      </dgm:t>
    </dgm:pt>
    <dgm:pt modelId="{F1A7AA71-730A-964D-B179-4479FBA5B8B2}">
      <dgm:prSet phldrT="[Text]"/>
      <dgm:spPr>
        <a:solidFill>
          <a:schemeClr val="accent2">
            <a:lumMod val="20000"/>
            <a:lumOff val="80000"/>
            <a:alpha val="90000"/>
          </a:schemeClr>
        </a:solidFill>
      </dgm:spPr>
      <dgm:t>
        <a:bodyPr/>
        <a:lstStyle/>
        <a:p>
          <a:r>
            <a:rPr lang="en-US" dirty="0" err="1" smtClean="0"/>
            <a:t>Winst</a:t>
          </a:r>
          <a:endParaRPr lang="en-US" dirty="0"/>
        </a:p>
      </dgm:t>
    </dgm:pt>
    <dgm:pt modelId="{080C6F01-D450-4E47-83F4-1A2B70DB6F40}" type="parTrans" cxnId="{22C4B8B1-751B-5C43-B9EE-465308031F49}">
      <dgm:prSet/>
      <dgm:spPr/>
      <dgm:t>
        <a:bodyPr/>
        <a:lstStyle/>
        <a:p>
          <a:endParaRPr lang="en-US"/>
        </a:p>
      </dgm:t>
    </dgm:pt>
    <dgm:pt modelId="{16285F2C-3895-2A47-908C-56F6A7357EC0}" type="sibTrans" cxnId="{22C4B8B1-751B-5C43-B9EE-465308031F49}">
      <dgm:prSet/>
      <dgm:spPr/>
      <dgm:t>
        <a:bodyPr/>
        <a:lstStyle/>
        <a:p>
          <a:endParaRPr lang="en-US"/>
        </a:p>
      </dgm:t>
    </dgm:pt>
    <dgm:pt modelId="{E113F167-9579-4644-A4F7-939B86BCAA24}">
      <dgm:prSet phldrT="[Text]"/>
      <dgm:spPr>
        <a:solidFill>
          <a:schemeClr val="accent2">
            <a:lumMod val="20000"/>
            <a:lumOff val="80000"/>
            <a:alpha val="90000"/>
          </a:schemeClr>
        </a:solidFill>
      </dgm:spPr>
      <dgm:t>
        <a:bodyPr/>
        <a:lstStyle/>
        <a:p>
          <a:r>
            <a:rPr lang="en-US" dirty="0" smtClean="0"/>
            <a:t>Marge</a:t>
          </a:r>
          <a:endParaRPr lang="en-US" dirty="0"/>
        </a:p>
      </dgm:t>
    </dgm:pt>
    <dgm:pt modelId="{96FDEEE7-0546-5945-958A-39B1CBD1EA1C}" type="parTrans" cxnId="{CA18E5DD-FFD2-F344-914E-91C21F81093F}">
      <dgm:prSet/>
      <dgm:spPr/>
      <dgm:t>
        <a:bodyPr/>
        <a:lstStyle/>
        <a:p>
          <a:endParaRPr lang="en-US"/>
        </a:p>
      </dgm:t>
    </dgm:pt>
    <dgm:pt modelId="{0C73FC26-3D13-1C44-962A-9B62C8009D92}" type="sibTrans" cxnId="{CA18E5DD-FFD2-F344-914E-91C21F81093F}">
      <dgm:prSet/>
      <dgm:spPr/>
      <dgm:t>
        <a:bodyPr/>
        <a:lstStyle/>
        <a:p>
          <a:endParaRPr lang="en-US"/>
        </a:p>
      </dgm:t>
    </dgm:pt>
    <dgm:pt modelId="{D02EA594-81C3-314D-A1B7-696AA8C9648F}">
      <dgm:prSet phldrT="[Text]"/>
      <dgm:spPr>
        <a:solidFill>
          <a:schemeClr val="accent2">
            <a:lumMod val="20000"/>
            <a:lumOff val="80000"/>
            <a:alpha val="90000"/>
          </a:schemeClr>
        </a:solidFill>
      </dgm:spPr>
      <dgm:t>
        <a:bodyPr/>
        <a:lstStyle/>
        <a:p>
          <a:r>
            <a:rPr lang="en-US" dirty="0" err="1" smtClean="0"/>
            <a:t>Omzet</a:t>
          </a:r>
          <a:endParaRPr lang="en-US" dirty="0"/>
        </a:p>
      </dgm:t>
    </dgm:pt>
    <dgm:pt modelId="{1B786CD7-45FA-9D41-8B22-B601F7A827A2}" type="parTrans" cxnId="{5EABE418-B5B6-9540-A7FC-FA4C0024E872}">
      <dgm:prSet/>
      <dgm:spPr/>
      <dgm:t>
        <a:bodyPr/>
        <a:lstStyle/>
        <a:p>
          <a:endParaRPr lang="en-US"/>
        </a:p>
      </dgm:t>
    </dgm:pt>
    <dgm:pt modelId="{CE02B9B0-451E-9347-A96B-72E96EEB988F}" type="sibTrans" cxnId="{5EABE418-B5B6-9540-A7FC-FA4C0024E872}">
      <dgm:prSet/>
      <dgm:spPr/>
      <dgm:t>
        <a:bodyPr/>
        <a:lstStyle/>
        <a:p>
          <a:endParaRPr lang="en-US"/>
        </a:p>
      </dgm:t>
    </dgm:pt>
    <dgm:pt modelId="{2E638D7C-1ED2-204B-A129-857DACDB62BF}">
      <dgm:prSet phldrT="[Text]"/>
      <dgm:spPr>
        <a:solidFill>
          <a:schemeClr val="accent2">
            <a:lumMod val="20000"/>
            <a:lumOff val="80000"/>
            <a:alpha val="90000"/>
          </a:schemeClr>
        </a:solidFill>
      </dgm:spPr>
      <dgm:t>
        <a:bodyPr/>
        <a:lstStyle/>
        <a:p>
          <a:r>
            <a:rPr lang="en-US" dirty="0" smtClean="0"/>
            <a:t>Revenue Per Visitor</a:t>
          </a:r>
          <a:endParaRPr lang="en-US" dirty="0"/>
        </a:p>
      </dgm:t>
    </dgm:pt>
    <dgm:pt modelId="{873461D6-0908-B542-9EC4-C2B89C986A7F}" type="parTrans" cxnId="{D7223FC0-31A5-9749-8CF2-BF7E4C4FCCE8}">
      <dgm:prSet/>
      <dgm:spPr/>
      <dgm:t>
        <a:bodyPr/>
        <a:lstStyle/>
        <a:p>
          <a:endParaRPr lang="en-US"/>
        </a:p>
      </dgm:t>
    </dgm:pt>
    <dgm:pt modelId="{2A28C48B-D63A-0846-876D-8CDA0FD8AD76}" type="sibTrans" cxnId="{D7223FC0-31A5-9749-8CF2-BF7E4C4FCCE8}">
      <dgm:prSet/>
      <dgm:spPr/>
      <dgm:t>
        <a:bodyPr/>
        <a:lstStyle/>
        <a:p>
          <a:endParaRPr lang="en-US"/>
        </a:p>
      </dgm:t>
    </dgm:pt>
    <dgm:pt modelId="{458A354D-0583-4144-8948-105B62B88535}">
      <dgm:prSet phldrT="[Text]"/>
      <dgm:spPr>
        <a:solidFill>
          <a:schemeClr val="accent2">
            <a:lumMod val="20000"/>
            <a:lumOff val="80000"/>
            <a:alpha val="90000"/>
          </a:schemeClr>
        </a:solidFill>
      </dgm:spPr>
      <dgm:t>
        <a:bodyPr/>
        <a:lstStyle/>
        <a:p>
          <a:r>
            <a:rPr lang="en-US" dirty="0" smtClean="0"/>
            <a:t>Visitors</a:t>
          </a:r>
          <a:endParaRPr lang="en-US" dirty="0"/>
        </a:p>
      </dgm:t>
    </dgm:pt>
    <dgm:pt modelId="{303B8E5E-86A0-7747-8DA5-6E5458A4FB4F}" type="parTrans" cxnId="{BD736868-FE2D-9040-A038-51720F811A31}">
      <dgm:prSet/>
      <dgm:spPr/>
      <dgm:t>
        <a:bodyPr/>
        <a:lstStyle/>
        <a:p>
          <a:endParaRPr lang="en-US"/>
        </a:p>
      </dgm:t>
    </dgm:pt>
    <dgm:pt modelId="{D49D8012-C33A-ED48-A0BB-2072D0906C2C}" type="sibTrans" cxnId="{BD736868-FE2D-9040-A038-51720F811A31}">
      <dgm:prSet/>
      <dgm:spPr/>
      <dgm:t>
        <a:bodyPr/>
        <a:lstStyle/>
        <a:p>
          <a:endParaRPr lang="en-US"/>
        </a:p>
      </dgm:t>
    </dgm:pt>
    <dgm:pt modelId="{A4489D2D-3502-E744-B42A-C544FB6E1DD6}">
      <dgm:prSet phldrT="[Text]"/>
      <dgm:spPr>
        <a:solidFill>
          <a:schemeClr val="accent2">
            <a:lumMod val="60000"/>
            <a:lumOff val="40000"/>
            <a:alpha val="90000"/>
          </a:schemeClr>
        </a:solidFill>
      </dgm:spPr>
      <dgm:t>
        <a:bodyPr/>
        <a:lstStyle/>
        <a:p>
          <a:r>
            <a:rPr lang="en-US" dirty="0" err="1" smtClean="0"/>
            <a:t>Conversie</a:t>
          </a:r>
          <a:endParaRPr lang="en-US" dirty="0"/>
        </a:p>
      </dgm:t>
    </dgm:pt>
    <dgm:pt modelId="{BD1A5A5E-C0A8-E047-B660-2F61D7C41CA2}" type="parTrans" cxnId="{64C8ACFE-AFC8-3A42-BED2-B30E9A46666C}">
      <dgm:prSet/>
      <dgm:spPr/>
      <dgm:t>
        <a:bodyPr/>
        <a:lstStyle/>
        <a:p>
          <a:endParaRPr lang="en-US"/>
        </a:p>
      </dgm:t>
    </dgm:pt>
    <dgm:pt modelId="{FCB7D02A-01AC-8044-B048-A1D58E40B7EF}" type="sibTrans" cxnId="{64C8ACFE-AFC8-3A42-BED2-B30E9A46666C}">
      <dgm:prSet/>
      <dgm:spPr/>
      <dgm:t>
        <a:bodyPr/>
        <a:lstStyle/>
        <a:p>
          <a:endParaRPr lang="en-US"/>
        </a:p>
      </dgm:t>
    </dgm:pt>
    <dgm:pt modelId="{EB807657-1E7A-A147-A401-873AAD35182F}">
      <dgm:prSet phldrT="[Text]"/>
      <dgm:spPr>
        <a:solidFill>
          <a:schemeClr val="accent2">
            <a:lumMod val="20000"/>
            <a:lumOff val="80000"/>
            <a:alpha val="90000"/>
          </a:schemeClr>
        </a:solidFill>
      </dgm:spPr>
      <dgm:t>
        <a:bodyPr/>
        <a:lstStyle/>
        <a:p>
          <a:r>
            <a:rPr lang="en-US" dirty="0" smtClean="0"/>
            <a:t>Average Order Value</a:t>
          </a:r>
          <a:endParaRPr lang="en-US" dirty="0"/>
        </a:p>
      </dgm:t>
    </dgm:pt>
    <dgm:pt modelId="{4FDFC228-5972-1143-9942-BF592A2858E5}" type="parTrans" cxnId="{66769842-8084-3842-BE1E-85DA44648824}">
      <dgm:prSet/>
      <dgm:spPr/>
      <dgm:t>
        <a:bodyPr/>
        <a:lstStyle/>
        <a:p>
          <a:endParaRPr lang="en-US"/>
        </a:p>
      </dgm:t>
    </dgm:pt>
    <dgm:pt modelId="{63A5D72E-2572-244F-96B7-3DE4F25A0252}" type="sibTrans" cxnId="{66769842-8084-3842-BE1E-85DA44648824}">
      <dgm:prSet/>
      <dgm:spPr/>
      <dgm:t>
        <a:bodyPr/>
        <a:lstStyle/>
        <a:p>
          <a:endParaRPr lang="en-US"/>
        </a:p>
      </dgm:t>
    </dgm:pt>
    <dgm:pt modelId="{E5F9A2C3-03B9-A845-AA7C-0E8EBD53E3DE}">
      <dgm:prSet phldrT="[Text]"/>
      <dgm:spPr>
        <a:solidFill>
          <a:schemeClr val="accent2">
            <a:lumMod val="20000"/>
            <a:lumOff val="80000"/>
            <a:alpha val="90000"/>
          </a:schemeClr>
        </a:solidFill>
      </dgm:spPr>
      <dgm:t>
        <a:bodyPr/>
        <a:lstStyle/>
        <a:p>
          <a:r>
            <a:rPr lang="en-US" dirty="0" smtClean="0"/>
            <a:t>Product Mix</a:t>
          </a:r>
          <a:endParaRPr lang="en-US" dirty="0"/>
        </a:p>
      </dgm:t>
    </dgm:pt>
    <dgm:pt modelId="{87A4BA89-2DBF-3042-9C8D-BB013EF6202F}" type="parTrans" cxnId="{334D0392-A64A-8341-97E8-B27432B20FC6}">
      <dgm:prSet/>
      <dgm:spPr/>
      <dgm:t>
        <a:bodyPr/>
        <a:lstStyle/>
        <a:p>
          <a:endParaRPr lang="en-US"/>
        </a:p>
      </dgm:t>
    </dgm:pt>
    <dgm:pt modelId="{116BF499-1D77-CE49-B721-FED7B3FA7556}" type="sibTrans" cxnId="{334D0392-A64A-8341-97E8-B27432B20FC6}">
      <dgm:prSet/>
      <dgm:spPr/>
      <dgm:t>
        <a:bodyPr/>
        <a:lstStyle/>
        <a:p>
          <a:endParaRPr lang="en-US"/>
        </a:p>
      </dgm:t>
    </dgm:pt>
    <dgm:pt modelId="{506AD9AF-1885-1340-8134-ED201D53DA02}">
      <dgm:prSet phldrT="[Text]"/>
      <dgm:spPr>
        <a:solidFill>
          <a:schemeClr val="accent2">
            <a:lumMod val="20000"/>
            <a:lumOff val="80000"/>
            <a:alpha val="90000"/>
          </a:schemeClr>
        </a:solidFill>
      </dgm:spPr>
      <dgm:t>
        <a:bodyPr/>
        <a:lstStyle/>
        <a:p>
          <a:r>
            <a:rPr lang="en-US" dirty="0" smtClean="0"/>
            <a:t>Acquisition</a:t>
          </a:r>
          <a:endParaRPr lang="en-US" dirty="0"/>
        </a:p>
      </dgm:t>
    </dgm:pt>
    <dgm:pt modelId="{54646245-D341-B949-B8ED-B5E6CF33FC30}" type="parTrans" cxnId="{40677A0E-6335-8244-9D45-37DD9C870F7C}">
      <dgm:prSet/>
      <dgm:spPr/>
      <dgm:t>
        <a:bodyPr/>
        <a:lstStyle/>
        <a:p>
          <a:endParaRPr lang="en-US"/>
        </a:p>
      </dgm:t>
    </dgm:pt>
    <dgm:pt modelId="{8070D3BA-C167-EC40-A68C-8557809C8493}" type="sibTrans" cxnId="{40677A0E-6335-8244-9D45-37DD9C870F7C}">
      <dgm:prSet/>
      <dgm:spPr/>
      <dgm:t>
        <a:bodyPr/>
        <a:lstStyle/>
        <a:p>
          <a:endParaRPr lang="en-US"/>
        </a:p>
      </dgm:t>
    </dgm:pt>
    <dgm:pt modelId="{6B23FAFB-7BAF-5246-8C0D-A16A4A6049BA}">
      <dgm:prSet phldrT="[Text]"/>
      <dgm:spPr>
        <a:solidFill>
          <a:schemeClr val="accent2">
            <a:lumMod val="20000"/>
            <a:lumOff val="80000"/>
            <a:alpha val="90000"/>
          </a:schemeClr>
        </a:solidFill>
      </dgm:spPr>
      <dgm:t>
        <a:bodyPr/>
        <a:lstStyle/>
        <a:p>
          <a:r>
            <a:rPr lang="en-US" dirty="0" smtClean="0"/>
            <a:t>Retention</a:t>
          </a:r>
          <a:endParaRPr lang="en-US" dirty="0"/>
        </a:p>
      </dgm:t>
    </dgm:pt>
    <dgm:pt modelId="{C89070F9-395A-2045-A303-DBC5996ECFE1}" type="parTrans" cxnId="{C2C99024-1E1E-4B49-8E1E-742BF4B31F03}">
      <dgm:prSet/>
      <dgm:spPr/>
      <dgm:t>
        <a:bodyPr/>
        <a:lstStyle/>
        <a:p>
          <a:endParaRPr lang="en-US"/>
        </a:p>
      </dgm:t>
    </dgm:pt>
    <dgm:pt modelId="{E25D41F0-6FDC-FE48-BE69-17BCE2F2F246}" type="sibTrans" cxnId="{C2C99024-1E1E-4B49-8E1E-742BF4B31F03}">
      <dgm:prSet/>
      <dgm:spPr/>
      <dgm:t>
        <a:bodyPr/>
        <a:lstStyle/>
        <a:p>
          <a:endParaRPr lang="en-US"/>
        </a:p>
      </dgm:t>
    </dgm:pt>
    <dgm:pt modelId="{11CD7E9E-7C72-034B-9C4C-77B853CA0F34}">
      <dgm:prSet phldrT="[Text]"/>
      <dgm:spPr>
        <a:solidFill>
          <a:schemeClr val="accent2">
            <a:lumMod val="20000"/>
            <a:lumOff val="80000"/>
            <a:alpha val="90000"/>
          </a:schemeClr>
        </a:solidFill>
      </dgm:spPr>
      <dgm:t>
        <a:bodyPr/>
        <a:lstStyle/>
        <a:p>
          <a:r>
            <a:rPr lang="en-US" dirty="0" smtClean="0"/>
            <a:t>E-mail Sign-up</a:t>
          </a:r>
          <a:endParaRPr lang="en-US" dirty="0"/>
        </a:p>
      </dgm:t>
    </dgm:pt>
    <dgm:pt modelId="{93819FFF-D68C-0E41-817F-122D5E359C97}" type="parTrans" cxnId="{34AE0B7E-CB9A-2345-AF90-9695D287D7C8}">
      <dgm:prSet/>
      <dgm:spPr/>
      <dgm:t>
        <a:bodyPr/>
        <a:lstStyle/>
        <a:p>
          <a:endParaRPr lang="en-US"/>
        </a:p>
      </dgm:t>
    </dgm:pt>
    <dgm:pt modelId="{CAFD826A-F556-4441-8F28-5CEBC5C60816}" type="sibTrans" cxnId="{34AE0B7E-CB9A-2345-AF90-9695D287D7C8}">
      <dgm:prSet/>
      <dgm:spPr/>
      <dgm:t>
        <a:bodyPr/>
        <a:lstStyle/>
        <a:p>
          <a:endParaRPr lang="en-US"/>
        </a:p>
      </dgm:t>
    </dgm:pt>
    <dgm:pt modelId="{E1D674BF-E765-7E48-84BE-976D40EFE0F2}">
      <dgm:prSet phldrT="[Text]"/>
      <dgm:spPr>
        <a:solidFill>
          <a:schemeClr val="accent2">
            <a:lumMod val="20000"/>
            <a:lumOff val="80000"/>
            <a:alpha val="90000"/>
          </a:schemeClr>
        </a:solidFill>
      </dgm:spPr>
      <dgm:t>
        <a:bodyPr/>
        <a:lstStyle/>
        <a:p>
          <a:r>
            <a:rPr lang="en-US" dirty="0" smtClean="0"/>
            <a:t>Follow-up mails</a:t>
          </a:r>
          <a:endParaRPr lang="en-US" dirty="0"/>
        </a:p>
      </dgm:t>
    </dgm:pt>
    <dgm:pt modelId="{A207DA0F-F568-844F-B926-F1500905B810}" type="parTrans" cxnId="{0655B642-A9B3-5844-8F25-09291604ABE0}">
      <dgm:prSet/>
      <dgm:spPr/>
      <dgm:t>
        <a:bodyPr/>
        <a:lstStyle/>
        <a:p>
          <a:endParaRPr lang="en-US"/>
        </a:p>
      </dgm:t>
    </dgm:pt>
    <dgm:pt modelId="{CBBFA961-7519-0A4A-8F71-430C73601F9B}" type="sibTrans" cxnId="{0655B642-A9B3-5844-8F25-09291604ABE0}">
      <dgm:prSet/>
      <dgm:spPr/>
      <dgm:t>
        <a:bodyPr/>
        <a:lstStyle/>
        <a:p>
          <a:endParaRPr lang="en-US"/>
        </a:p>
      </dgm:t>
    </dgm:pt>
    <dgm:pt modelId="{0A5A39D2-C024-D249-A53D-0114EC293BD6}">
      <dgm:prSet phldrT="[Text]"/>
      <dgm:spPr>
        <a:solidFill>
          <a:schemeClr val="accent3">
            <a:lumMod val="40000"/>
            <a:lumOff val="60000"/>
            <a:alpha val="90000"/>
          </a:schemeClr>
        </a:solidFill>
      </dgm:spPr>
      <dgm:t>
        <a:bodyPr/>
        <a:lstStyle/>
        <a:p>
          <a:r>
            <a:rPr lang="en-US" dirty="0" err="1" smtClean="0"/>
            <a:t>Personalizatie</a:t>
          </a:r>
          <a:endParaRPr lang="en-US" dirty="0"/>
        </a:p>
      </dgm:t>
    </dgm:pt>
    <dgm:pt modelId="{2DD49C9F-88B3-404E-8B9B-824CBDDE8DFA}" type="parTrans" cxnId="{88185D20-D291-E648-9B84-521335F0AFCB}">
      <dgm:prSet/>
      <dgm:spPr/>
      <dgm:t>
        <a:bodyPr/>
        <a:lstStyle/>
        <a:p>
          <a:endParaRPr lang="en-US"/>
        </a:p>
      </dgm:t>
    </dgm:pt>
    <dgm:pt modelId="{92B8FC36-9746-7249-BA45-50357DCA9C5A}" type="sibTrans" cxnId="{88185D20-D291-E648-9B84-521335F0AFCB}">
      <dgm:prSet/>
      <dgm:spPr/>
      <dgm:t>
        <a:bodyPr/>
        <a:lstStyle/>
        <a:p>
          <a:endParaRPr lang="en-US"/>
        </a:p>
      </dgm:t>
    </dgm:pt>
    <dgm:pt modelId="{BA7BA35D-9D12-044C-98F4-9F2585E6C4D0}">
      <dgm:prSet phldrT="[Text]"/>
      <dgm:spPr>
        <a:solidFill>
          <a:schemeClr val="accent2">
            <a:lumMod val="20000"/>
            <a:lumOff val="80000"/>
            <a:alpha val="90000"/>
          </a:schemeClr>
        </a:solidFill>
      </dgm:spPr>
      <dgm:t>
        <a:bodyPr/>
        <a:lstStyle/>
        <a:p>
          <a:r>
            <a:rPr lang="en-US" dirty="0" smtClean="0"/>
            <a:t>Number of Steps</a:t>
          </a:r>
          <a:endParaRPr lang="en-US" dirty="0"/>
        </a:p>
      </dgm:t>
    </dgm:pt>
    <dgm:pt modelId="{FA3EC8C9-D05F-6741-9BD7-9CB8F0F0F1AF}" type="parTrans" cxnId="{C5C07A8A-CDFB-7242-B41C-5662FB2B92CA}">
      <dgm:prSet/>
      <dgm:spPr/>
      <dgm:t>
        <a:bodyPr/>
        <a:lstStyle/>
        <a:p>
          <a:endParaRPr lang="en-US"/>
        </a:p>
      </dgm:t>
    </dgm:pt>
    <dgm:pt modelId="{C4EAB1A8-B25F-D345-BEA1-CF7848F9F1ED}" type="sibTrans" cxnId="{C5C07A8A-CDFB-7242-B41C-5662FB2B92CA}">
      <dgm:prSet/>
      <dgm:spPr/>
      <dgm:t>
        <a:bodyPr/>
        <a:lstStyle/>
        <a:p>
          <a:endParaRPr lang="en-US"/>
        </a:p>
      </dgm:t>
    </dgm:pt>
    <dgm:pt modelId="{0B462BE1-A379-6245-AD8F-F10FD4B31998}">
      <dgm:prSet phldrT="[Text]"/>
      <dgm:spPr>
        <a:solidFill>
          <a:schemeClr val="accent2">
            <a:lumMod val="20000"/>
            <a:lumOff val="80000"/>
            <a:alpha val="90000"/>
          </a:schemeClr>
        </a:solidFill>
      </dgm:spPr>
      <dgm:t>
        <a:bodyPr/>
        <a:lstStyle/>
        <a:p>
          <a:r>
            <a:rPr lang="en-US" dirty="0" smtClean="0"/>
            <a:t>Completion Rate</a:t>
          </a:r>
          <a:endParaRPr lang="en-US" dirty="0"/>
        </a:p>
      </dgm:t>
    </dgm:pt>
    <dgm:pt modelId="{34209A5B-396D-7748-89CA-F9440E9A4C72}" type="parTrans" cxnId="{4CB1B034-7B8C-0F47-837A-D83570E6F9BA}">
      <dgm:prSet/>
      <dgm:spPr/>
      <dgm:t>
        <a:bodyPr/>
        <a:lstStyle/>
        <a:p>
          <a:endParaRPr lang="en-US"/>
        </a:p>
      </dgm:t>
    </dgm:pt>
    <dgm:pt modelId="{533B5D84-BCEE-B547-8F6D-D9D7D091E028}" type="sibTrans" cxnId="{4CB1B034-7B8C-0F47-837A-D83570E6F9BA}">
      <dgm:prSet/>
      <dgm:spPr/>
      <dgm:t>
        <a:bodyPr/>
        <a:lstStyle/>
        <a:p>
          <a:endParaRPr lang="en-US"/>
        </a:p>
      </dgm:t>
    </dgm:pt>
    <dgm:pt modelId="{4BD28DB6-5285-2044-B998-F61C438E047B}">
      <dgm:prSet phldrT="[Text]"/>
      <dgm:spPr>
        <a:solidFill>
          <a:schemeClr val="accent3">
            <a:lumMod val="40000"/>
            <a:lumOff val="60000"/>
            <a:alpha val="90000"/>
          </a:schemeClr>
        </a:solidFill>
      </dgm:spPr>
      <dgm:t>
        <a:bodyPr/>
        <a:lstStyle/>
        <a:p>
          <a:r>
            <a:rPr lang="en-US" dirty="0" smtClean="0"/>
            <a:t>Pre-fill data</a:t>
          </a:r>
          <a:endParaRPr lang="en-US" dirty="0"/>
        </a:p>
      </dgm:t>
    </dgm:pt>
    <dgm:pt modelId="{F30BCE99-25A9-8E46-B5AA-904BFC78A896}" type="parTrans" cxnId="{892C59AE-EA84-D141-9501-3E63A0CC3F0C}">
      <dgm:prSet/>
      <dgm:spPr/>
      <dgm:t>
        <a:bodyPr/>
        <a:lstStyle/>
        <a:p>
          <a:endParaRPr lang="en-US"/>
        </a:p>
      </dgm:t>
    </dgm:pt>
    <dgm:pt modelId="{E31CBC77-10E9-1340-A789-6DAD76132E64}" type="sibTrans" cxnId="{892C59AE-EA84-D141-9501-3E63A0CC3F0C}">
      <dgm:prSet/>
      <dgm:spPr/>
      <dgm:t>
        <a:bodyPr/>
        <a:lstStyle/>
        <a:p>
          <a:endParaRPr lang="en-US"/>
        </a:p>
      </dgm:t>
    </dgm:pt>
    <dgm:pt modelId="{B15DE8A6-FA76-B940-8435-E709EF4FA037}">
      <dgm:prSet phldrT="[Text]"/>
      <dgm:spPr>
        <a:solidFill>
          <a:schemeClr val="accent3">
            <a:lumMod val="40000"/>
            <a:lumOff val="60000"/>
            <a:alpha val="90000"/>
          </a:schemeClr>
        </a:solidFill>
      </dgm:spPr>
      <dgm:t>
        <a:bodyPr/>
        <a:lstStyle/>
        <a:p>
          <a:r>
            <a:rPr lang="en-US" dirty="0" smtClean="0"/>
            <a:t>Calls to Action</a:t>
          </a:r>
          <a:endParaRPr lang="en-US" dirty="0"/>
        </a:p>
      </dgm:t>
    </dgm:pt>
    <dgm:pt modelId="{794D827A-2A8B-DD49-A8B1-9054F6A595E2}" type="parTrans" cxnId="{DE338E8E-1A8F-984D-B254-C443B39DCD53}">
      <dgm:prSet/>
      <dgm:spPr/>
      <dgm:t>
        <a:bodyPr/>
        <a:lstStyle/>
        <a:p>
          <a:endParaRPr lang="en-US"/>
        </a:p>
      </dgm:t>
    </dgm:pt>
    <dgm:pt modelId="{97A35451-4483-224F-B706-1A64C79445F4}" type="sibTrans" cxnId="{DE338E8E-1A8F-984D-B254-C443B39DCD53}">
      <dgm:prSet/>
      <dgm:spPr/>
      <dgm:t>
        <a:bodyPr/>
        <a:lstStyle/>
        <a:p>
          <a:endParaRPr lang="en-US"/>
        </a:p>
      </dgm:t>
    </dgm:pt>
    <dgm:pt modelId="{55BF1963-16BE-D94D-8987-C22786904932}">
      <dgm:prSet phldrT="[Text]"/>
      <dgm:spPr>
        <a:solidFill>
          <a:schemeClr val="accent3">
            <a:lumMod val="40000"/>
            <a:lumOff val="60000"/>
            <a:alpha val="90000"/>
          </a:schemeClr>
        </a:solidFill>
      </dgm:spPr>
      <dgm:t>
        <a:bodyPr/>
        <a:lstStyle/>
        <a:p>
          <a:r>
            <a:rPr lang="en-US" dirty="0" err="1" smtClean="0"/>
            <a:t>Formaat</a:t>
          </a:r>
          <a:endParaRPr lang="en-US" dirty="0"/>
        </a:p>
      </dgm:t>
    </dgm:pt>
    <dgm:pt modelId="{FF966559-30A4-E643-A3BE-EA8623C4ED98}" type="parTrans" cxnId="{6CA9E017-E385-2241-A52E-7D3ABB521DA8}">
      <dgm:prSet/>
      <dgm:spPr/>
      <dgm:t>
        <a:bodyPr/>
        <a:lstStyle/>
        <a:p>
          <a:endParaRPr lang="en-US"/>
        </a:p>
      </dgm:t>
    </dgm:pt>
    <dgm:pt modelId="{166F1976-D362-C740-B7C5-460143F42112}" type="sibTrans" cxnId="{6CA9E017-E385-2241-A52E-7D3ABB521DA8}">
      <dgm:prSet/>
      <dgm:spPr/>
      <dgm:t>
        <a:bodyPr/>
        <a:lstStyle/>
        <a:p>
          <a:endParaRPr lang="en-US"/>
        </a:p>
      </dgm:t>
    </dgm:pt>
    <dgm:pt modelId="{6BC94220-1974-824C-8ECA-AE3D20E6BEEC}">
      <dgm:prSet phldrT="[Text]"/>
      <dgm:spPr>
        <a:solidFill>
          <a:schemeClr val="accent3">
            <a:lumMod val="40000"/>
            <a:lumOff val="60000"/>
            <a:alpha val="90000"/>
          </a:schemeClr>
        </a:solidFill>
      </dgm:spPr>
      <dgm:t>
        <a:bodyPr/>
        <a:lstStyle/>
        <a:p>
          <a:r>
            <a:rPr lang="en-US" dirty="0" err="1" smtClean="0"/>
            <a:t>Kleur</a:t>
          </a:r>
          <a:endParaRPr lang="en-US" dirty="0"/>
        </a:p>
      </dgm:t>
    </dgm:pt>
    <dgm:pt modelId="{6287AE0E-58C8-F04A-93A0-94CD0EE18F37}" type="parTrans" cxnId="{CB257BD9-AE50-B845-BA6D-566C25561DAC}">
      <dgm:prSet/>
      <dgm:spPr/>
      <dgm:t>
        <a:bodyPr/>
        <a:lstStyle/>
        <a:p>
          <a:endParaRPr lang="en-US"/>
        </a:p>
      </dgm:t>
    </dgm:pt>
    <dgm:pt modelId="{9AF87931-E6F0-A843-BBB5-59B4352FB905}" type="sibTrans" cxnId="{CB257BD9-AE50-B845-BA6D-566C25561DAC}">
      <dgm:prSet/>
      <dgm:spPr/>
      <dgm:t>
        <a:bodyPr/>
        <a:lstStyle/>
        <a:p>
          <a:endParaRPr lang="en-US"/>
        </a:p>
      </dgm:t>
    </dgm:pt>
    <dgm:pt modelId="{92AA3F81-FC54-934C-9AC8-4D4970F2CB69}">
      <dgm:prSet phldrT="[Text]"/>
      <dgm:spPr>
        <a:solidFill>
          <a:schemeClr val="accent3">
            <a:lumMod val="40000"/>
            <a:lumOff val="60000"/>
            <a:alpha val="90000"/>
          </a:schemeClr>
        </a:solidFill>
      </dgm:spPr>
      <dgm:t>
        <a:bodyPr/>
        <a:lstStyle/>
        <a:p>
          <a:r>
            <a:rPr lang="en-US" dirty="0" smtClean="0"/>
            <a:t>Text</a:t>
          </a:r>
          <a:endParaRPr lang="en-US" dirty="0"/>
        </a:p>
      </dgm:t>
    </dgm:pt>
    <dgm:pt modelId="{739AA743-EECA-9542-80FC-116372C2D689}" type="parTrans" cxnId="{F7566537-F7CD-4147-B7F4-D8A73622FD23}">
      <dgm:prSet/>
      <dgm:spPr/>
      <dgm:t>
        <a:bodyPr/>
        <a:lstStyle/>
        <a:p>
          <a:endParaRPr lang="en-US"/>
        </a:p>
      </dgm:t>
    </dgm:pt>
    <dgm:pt modelId="{62DB5E9E-DB62-7547-A2A6-06AEFE16208F}" type="sibTrans" cxnId="{F7566537-F7CD-4147-B7F4-D8A73622FD23}">
      <dgm:prSet/>
      <dgm:spPr/>
      <dgm:t>
        <a:bodyPr/>
        <a:lstStyle/>
        <a:p>
          <a:endParaRPr lang="en-US"/>
        </a:p>
      </dgm:t>
    </dgm:pt>
    <dgm:pt modelId="{4506FFD5-F011-2643-BA74-69B9A4AB1E46}">
      <dgm:prSet phldrT="[Text]"/>
      <dgm:spPr>
        <a:solidFill>
          <a:schemeClr val="accent3">
            <a:lumMod val="40000"/>
            <a:lumOff val="60000"/>
            <a:alpha val="90000"/>
          </a:schemeClr>
        </a:solidFill>
      </dgm:spPr>
      <dgm:t>
        <a:bodyPr/>
        <a:lstStyle/>
        <a:p>
          <a:r>
            <a:rPr lang="en-US" dirty="0" smtClean="0"/>
            <a:t>Unique Selling Points</a:t>
          </a:r>
          <a:endParaRPr lang="en-US" dirty="0"/>
        </a:p>
      </dgm:t>
    </dgm:pt>
    <dgm:pt modelId="{1EBD3E84-6E47-1845-90EA-1AE7D472BE5A}" type="parTrans" cxnId="{A5AA4983-18B1-324C-976A-6DAE0DEFBA0A}">
      <dgm:prSet/>
      <dgm:spPr/>
      <dgm:t>
        <a:bodyPr/>
        <a:lstStyle/>
        <a:p>
          <a:endParaRPr lang="en-US"/>
        </a:p>
      </dgm:t>
    </dgm:pt>
    <dgm:pt modelId="{0B5FBE7D-28A0-134C-B2F7-F8F181B1CB42}" type="sibTrans" cxnId="{A5AA4983-18B1-324C-976A-6DAE0DEFBA0A}">
      <dgm:prSet/>
      <dgm:spPr/>
      <dgm:t>
        <a:bodyPr/>
        <a:lstStyle/>
        <a:p>
          <a:endParaRPr lang="en-US"/>
        </a:p>
      </dgm:t>
    </dgm:pt>
    <dgm:pt modelId="{C8417BBA-27E3-2E48-9E3C-0308895E70F6}">
      <dgm:prSet phldrT="[Text]"/>
      <dgm:spPr>
        <a:solidFill>
          <a:schemeClr val="accent3">
            <a:lumMod val="40000"/>
            <a:lumOff val="60000"/>
            <a:alpha val="90000"/>
          </a:schemeClr>
        </a:solidFill>
      </dgm:spPr>
      <dgm:t>
        <a:bodyPr/>
        <a:lstStyle/>
        <a:p>
          <a:r>
            <a:rPr lang="en-US" dirty="0" smtClean="0"/>
            <a:t>Location</a:t>
          </a:r>
          <a:endParaRPr lang="en-US" dirty="0"/>
        </a:p>
      </dgm:t>
    </dgm:pt>
    <dgm:pt modelId="{AC8F7B63-81BB-1F41-ADA3-BA01298131AF}" type="parTrans" cxnId="{54CF2265-FE41-8049-ABED-57B6D24663B1}">
      <dgm:prSet/>
      <dgm:spPr/>
      <dgm:t>
        <a:bodyPr/>
        <a:lstStyle/>
        <a:p>
          <a:endParaRPr lang="en-US"/>
        </a:p>
      </dgm:t>
    </dgm:pt>
    <dgm:pt modelId="{8B39FDE9-2474-2743-AA14-9DF648C3F9C4}" type="sibTrans" cxnId="{54CF2265-FE41-8049-ABED-57B6D24663B1}">
      <dgm:prSet/>
      <dgm:spPr/>
      <dgm:t>
        <a:bodyPr/>
        <a:lstStyle/>
        <a:p>
          <a:endParaRPr lang="en-US"/>
        </a:p>
      </dgm:t>
    </dgm:pt>
    <dgm:pt modelId="{65A42FF3-1782-2740-AB61-F5BA3B70CB28}">
      <dgm:prSet phldrT="[Text]"/>
      <dgm:spPr>
        <a:solidFill>
          <a:schemeClr val="accent3">
            <a:lumMod val="40000"/>
            <a:lumOff val="60000"/>
            <a:alpha val="90000"/>
          </a:schemeClr>
        </a:solidFill>
      </dgm:spPr>
      <dgm:t>
        <a:bodyPr/>
        <a:lstStyle/>
        <a:p>
          <a:r>
            <a:rPr lang="en-US" dirty="0" smtClean="0"/>
            <a:t>Timing</a:t>
          </a:r>
          <a:endParaRPr lang="en-US" dirty="0"/>
        </a:p>
      </dgm:t>
    </dgm:pt>
    <dgm:pt modelId="{C89B0D98-01DD-484C-B54C-F9D00A6E7E4D}" type="parTrans" cxnId="{9CE42089-D96F-144B-82F9-2EC91A57A2E3}">
      <dgm:prSet/>
      <dgm:spPr/>
      <dgm:t>
        <a:bodyPr/>
        <a:lstStyle/>
        <a:p>
          <a:endParaRPr lang="en-US"/>
        </a:p>
      </dgm:t>
    </dgm:pt>
    <dgm:pt modelId="{00E4BF21-EE1E-F342-AE98-5C303971FF96}" type="sibTrans" cxnId="{9CE42089-D96F-144B-82F9-2EC91A57A2E3}">
      <dgm:prSet/>
      <dgm:spPr/>
      <dgm:t>
        <a:bodyPr/>
        <a:lstStyle/>
        <a:p>
          <a:endParaRPr lang="en-US"/>
        </a:p>
      </dgm:t>
    </dgm:pt>
    <dgm:pt modelId="{BFD4AD48-D688-C041-9CA3-CCFF19DCCDE9}">
      <dgm:prSet phldrT="[Text]"/>
      <dgm:spPr>
        <a:solidFill>
          <a:schemeClr val="accent3">
            <a:lumMod val="40000"/>
            <a:lumOff val="60000"/>
            <a:alpha val="90000"/>
          </a:schemeClr>
        </a:solidFill>
      </dgm:spPr>
      <dgm:t>
        <a:bodyPr/>
        <a:lstStyle/>
        <a:p>
          <a:r>
            <a:rPr lang="en-US" dirty="0" smtClean="0"/>
            <a:t>Urgency</a:t>
          </a:r>
          <a:endParaRPr lang="en-US" dirty="0"/>
        </a:p>
      </dgm:t>
    </dgm:pt>
    <dgm:pt modelId="{9B24C5E4-AE89-D242-9374-0F868E1C5E47}" type="parTrans" cxnId="{5F91895E-BA33-7746-8944-50ED9F37FF94}">
      <dgm:prSet/>
      <dgm:spPr/>
      <dgm:t>
        <a:bodyPr/>
        <a:lstStyle/>
        <a:p>
          <a:endParaRPr lang="en-US"/>
        </a:p>
      </dgm:t>
    </dgm:pt>
    <dgm:pt modelId="{A8E490DA-DFEB-4744-B8F5-EE4032AB8FFB}" type="sibTrans" cxnId="{5F91895E-BA33-7746-8944-50ED9F37FF94}">
      <dgm:prSet/>
      <dgm:spPr/>
      <dgm:t>
        <a:bodyPr/>
        <a:lstStyle/>
        <a:p>
          <a:endParaRPr lang="en-US"/>
        </a:p>
      </dgm:t>
    </dgm:pt>
    <dgm:pt modelId="{A6C7CB65-7D85-9640-ADDB-D6EB06AF9392}">
      <dgm:prSet phldrT="[Text]"/>
      <dgm:spPr>
        <a:solidFill>
          <a:schemeClr val="accent3">
            <a:lumMod val="40000"/>
            <a:lumOff val="60000"/>
            <a:alpha val="90000"/>
          </a:schemeClr>
        </a:solidFill>
      </dgm:spPr>
      <dgm:t>
        <a:bodyPr/>
        <a:lstStyle/>
        <a:p>
          <a:r>
            <a:rPr lang="en-US" dirty="0" smtClean="0"/>
            <a:t>Distractions</a:t>
          </a:r>
          <a:endParaRPr lang="en-US" dirty="0"/>
        </a:p>
      </dgm:t>
    </dgm:pt>
    <dgm:pt modelId="{BE7C6BB9-7A02-ED47-A5C5-85AB61928407}" type="parTrans" cxnId="{16B69F1E-AA3F-E446-9A41-B4B12DC92983}">
      <dgm:prSet/>
      <dgm:spPr/>
      <dgm:t>
        <a:bodyPr/>
        <a:lstStyle/>
        <a:p>
          <a:endParaRPr lang="en-US"/>
        </a:p>
      </dgm:t>
    </dgm:pt>
    <dgm:pt modelId="{210E4D6B-ED80-C543-9F6F-4D701F92703A}" type="sibTrans" cxnId="{16B69F1E-AA3F-E446-9A41-B4B12DC92983}">
      <dgm:prSet/>
      <dgm:spPr/>
      <dgm:t>
        <a:bodyPr/>
        <a:lstStyle/>
        <a:p>
          <a:endParaRPr lang="en-US"/>
        </a:p>
      </dgm:t>
    </dgm:pt>
    <dgm:pt modelId="{91D9F0D0-E4CF-2D48-B101-51892ECE1701}">
      <dgm:prSet phldrT="[Text]"/>
      <dgm:spPr>
        <a:solidFill>
          <a:schemeClr val="accent3">
            <a:lumMod val="40000"/>
            <a:lumOff val="60000"/>
            <a:alpha val="90000"/>
          </a:schemeClr>
        </a:solidFill>
      </dgm:spPr>
      <dgm:t>
        <a:bodyPr/>
        <a:lstStyle/>
        <a:p>
          <a:r>
            <a:rPr lang="en-US" dirty="0" smtClean="0"/>
            <a:t>Upsell</a:t>
          </a:r>
          <a:endParaRPr lang="en-US" dirty="0"/>
        </a:p>
      </dgm:t>
    </dgm:pt>
    <dgm:pt modelId="{9CF4C73D-5AB3-D94A-8E4C-CF09AF55A75C}" type="parTrans" cxnId="{39CD87CD-7D52-B94C-B21F-B8F9AA4CA3FA}">
      <dgm:prSet/>
      <dgm:spPr/>
      <dgm:t>
        <a:bodyPr/>
        <a:lstStyle/>
        <a:p>
          <a:endParaRPr lang="en-US"/>
        </a:p>
      </dgm:t>
    </dgm:pt>
    <dgm:pt modelId="{B0F54B6E-F1B5-AF40-9511-1F0BB10B9B76}" type="sibTrans" cxnId="{39CD87CD-7D52-B94C-B21F-B8F9AA4CA3FA}">
      <dgm:prSet/>
      <dgm:spPr/>
      <dgm:t>
        <a:bodyPr/>
        <a:lstStyle/>
        <a:p>
          <a:endParaRPr lang="en-US"/>
        </a:p>
      </dgm:t>
    </dgm:pt>
    <dgm:pt modelId="{54A86124-3ECE-5C44-AB78-72947166387E}">
      <dgm:prSet phldrT="[Text]"/>
      <dgm:spPr>
        <a:solidFill>
          <a:schemeClr val="accent3">
            <a:lumMod val="40000"/>
            <a:lumOff val="60000"/>
            <a:alpha val="90000"/>
          </a:schemeClr>
        </a:solidFill>
      </dgm:spPr>
      <dgm:t>
        <a:bodyPr/>
        <a:lstStyle/>
        <a:p>
          <a:r>
            <a:rPr lang="en-US" dirty="0" smtClean="0"/>
            <a:t>Cross-selling</a:t>
          </a:r>
          <a:endParaRPr lang="en-US" dirty="0"/>
        </a:p>
      </dgm:t>
    </dgm:pt>
    <dgm:pt modelId="{ABDA1E80-6BE1-F044-A790-F4F7A2939337}" type="parTrans" cxnId="{CE0BE44A-B342-3049-8B62-7F92BF95A581}">
      <dgm:prSet/>
      <dgm:spPr/>
      <dgm:t>
        <a:bodyPr/>
        <a:lstStyle/>
        <a:p>
          <a:endParaRPr lang="en-US"/>
        </a:p>
      </dgm:t>
    </dgm:pt>
    <dgm:pt modelId="{848894E1-FC57-174D-9177-DCCE5C6DE8E6}" type="sibTrans" cxnId="{CE0BE44A-B342-3049-8B62-7F92BF95A581}">
      <dgm:prSet/>
      <dgm:spPr/>
      <dgm:t>
        <a:bodyPr/>
        <a:lstStyle/>
        <a:p>
          <a:endParaRPr lang="en-US"/>
        </a:p>
      </dgm:t>
    </dgm:pt>
    <dgm:pt modelId="{D429C98F-D7AF-4247-8A9A-387DAC271322}">
      <dgm:prSet phldrT="[Text]"/>
      <dgm:spPr>
        <a:solidFill>
          <a:schemeClr val="accent3">
            <a:lumMod val="40000"/>
            <a:lumOff val="60000"/>
            <a:alpha val="90000"/>
          </a:schemeClr>
        </a:solidFill>
      </dgm:spPr>
      <dgm:t>
        <a:bodyPr/>
        <a:lstStyle/>
        <a:p>
          <a:r>
            <a:rPr lang="en-US" dirty="0" smtClean="0"/>
            <a:t>Ease of Use</a:t>
          </a:r>
          <a:endParaRPr lang="en-US" dirty="0"/>
        </a:p>
      </dgm:t>
    </dgm:pt>
    <dgm:pt modelId="{61A347D8-DE43-FF40-B913-0F7C122392A5}" type="parTrans" cxnId="{38AFAF46-14D5-E449-BEBA-5484A15B59B6}">
      <dgm:prSet/>
      <dgm:spPr/>
      <dgm:t>
        <a:bodyPr/>
        <a:lstStyle/>
        <a:p>
          <a:endParaRPr lang="en-US"/>
        </a:p>
      </dgm:t>
    </dgm:pt>
    <dgm:pt modelId="{92C40DCF-E280-6C41-A3E1-2F81394C3261}" type="sibTrans" cxnId="{38AFAF46-14D5-E449-BEBA-5484A15B59B6}">
      <dgm:prSet/>
      <dgm:spPr/>
      <dgm:t>
        <a:bodyPr/>
        <a:lstStyle/>
        <a:p>
          <a:endParaRPr lang="en-US"/>
        </a:p>
      </dgm:t>
    </dgm:pt>
    <dgm:pt modelId="{3F62D1AF-EC47-EC4E-832D-94DE2BE98B6C}">
      <dgm:prSet phldrT="[Text]"/>
      <dgm:spPr>
        <a:solidFill>
          <a:schemeClr val="accent3">
            <a:lumMod val="40000"/>
            <a:lumOff val="60000"/>
            <a:alpha val="90000"/>
          </a:schemeClr>
        </a:solidFill>
      </dgm:spPr>
      <dgm:t>
        <a:bodyPr/>
        <a:lstStyle/>
        <a:p>
          <a:r>
            <a:rPr lang="en-US" dirty="0" smtClean="0"/>
            <a:t>User Flow</a:t>
          </a:r>
          <a:endParaRPr lang="en-US" dirty="0"/>
        </a:p>
      </dgm:t>
    </dgm:pt>
    <dgm:pt modelId="{466DC4F5-965B-9D43-BF6E-7AD89DEAA275}" type="parTrans" cxnId="{E1CFAE05-14CA-EF44-B4C4-4AB5B39A5CC0}">
      <dgm:prSet/>
      <dgm:spPr/>
      <dgm:t>
        <a:bodyPr/>
        <a:lstStyle/>
        <a:p>
          <a:endParaRPr lang="en-US"/>
        </a:p>
      </dgm:t>
    </dgm:pt>
    <dgm:pt modelId="{1C4AB147-A95A-C34E-8937-ED7334BB9A0C}" type="sibTrans" cxnId="{E1CFAE05-14CA-EF44-B4C4-4AB5B39A5CC0}">
      <dgm:prSet/>
      <dgm:spPr/>
      <dgm:t>
        <a:bodyPr/>
        <a:lstStyle/>
        <a:p>
          <a:endParaRPr lang="en-US"/>
        </a:p>
      </dgm:t>
    </dgm:pt>
    <dgm:pt modelId="{041119CE-361E-6D4A-9899-F5AB6B6B890A}" type="pres">
      <dgm:prSet presAssocID="{FD2DC9C9-CCF8-6D47-A8AF-7E8440F609A2}" presName="hierChild1" presStyleCnt="0">
        <dgm:presLayoutVars>
          <dgm:chPref val="1"/>
          <dgm:dir/>
          <dgm:animOne val="branch"/>
          <dgm:animLvl val="lvl"/>
          <dgm:resizeHandles/>
        </dgm:presLayoutVars>
      </dgm:prSet>
      <dgm:spPr/>
      <dgm:t>
        <a:bodyPr/>
        <a:lstStyle/>
        <a:p>
          <a:endParaRPr lang="en-US"/>
        </a:p>
      </dgm:t>
    </dgm:pt>
    <dgm:pt modelId="{59E409A7-F9A3-DB4B-B719-C8F4A359C27D}" type="pres">
      <dgm:prSet presAssocID="{F1A7AA71-730A-964D-B179-4479FBA5B8B2}" presName="hierRoot1" presStyleCnt="0"/>
      <dgm:spPr/>
    </dgm:pt>
    <dgm:pt modelId="{CA0A7D2D-A7C8-9C4B-B5EB-0601FBF8DAA6}" type="pres">
      <dgm:prSet presAssocID="{F1A7AA71-730A-964D-B179-4479FBA5B8B2}" presName="composite" presStyleCnt="0"/>
      <dgm:spPr/>
    </dgm:pt>
    <dgm:pt modelId="{9050CC20-909F-5248-96C4-4DF4753AA48C}" type="pres">
      <dgm:prSet presAssocID="{F1A7AA71-730A-964D-B179-4479FBA5B8B2}" presName="background" presStyleLbl="node0" presStyleIdx="0" presStyleCnt="1"/>
      <dgm:spPr/>
    </dgm:pt>
    <dgm:pt modelId="{82FE6A12-C625-6148-8699-AE7449FC7055}" type="pres">
      <dgm:prSet presAssocID="{F1A7AA71-730A-964D-B179-4479FBA5B8B2}" presName="text" presStyleLbl="fgAcc0" presStyleIdx="0" presStyleCnt="1">
        <dgm:presLayoutVars>
          <dgm:chPref val="3"/>
        </dgm:presLayoutVars>
      </dgm:prSet>
      <dgm:spPr/>
      <dgm:t>
        <a:bodyPr/>
        <a:lstStyle/>
        <a:p>
          <a:endParaRPr lang="en-US"/>
        </a:p>
      </dgm:t>
    </dgm:pt>
    <dgm:pt modelId="{4CCF5A43-1581-D54B-8324-BEEDAD9B0B89}" type="pres">
      <dgm:prSet presAssocID="{F1A7AA71-730A-964D-B179-4479FBA5B8B2}" presName="hierChild2" presStyleCnt="0"/>
      <dgm:spPr/>
    </dgm:pt>
    <dgm:pt modelId="{DA21F375-A073-FB4E-A96B-7FBC9541A8F1}" type="pres">
      <dgm:prSet presAssocID="{96FDEEE7-0546-5945-958A-39B1CBD1EA1C}" presName="Name10" presStyleLbl="parChTrans1D2" presStyleIdx="0" presStyleCnt="2"/>
      <dgm:spPr/>
      <dgm:t>
        <a:bodyPr/>
        <a:lstStyle/>
        <a:p>
          <a:endParaRPr lang="en-US"/>
        </a:p>
      </dgm:t>
    </dgm:pt>
    <dgm:pt modelId="{BBE9DF3B-EC04-AF45-B68D-C372E5A6FCBE}" type="pres">
      <dgm:prSet presAssocID="{E113F167-9579-4644-A4F7-939B86BCAA24}" presName="hierRoot2" presStyleCnt="0"/>
      <dgm:spPr/>
    </dgm:pt>
    <dgm:pt modelId="{C17D896A-07A8-CD49-8D37-095C00D0C55B}" type="pres">
      <dgm:prSet presAssocID="{E113F167-9579-4644-A4F7-939B86BCAA24}" presName="composite2" presStyleCnt="0"/>
      <dgm:spPr/>
    </dgm:pt>
    <dgm:pt modelId="{7A368920-6EB9-3D45-81F4-2DF243B8D7B5}" type="pres">
      <dgm:prSet presAssocID="{E113F167-9579-4644-A4F7-939B86BCAA24}" presName="background2" presStyleLbl="node2" presStyleIdx="0" presStyleCnt="2"/>
      <dgm:spPr/>
    </dgm:pt>
    <dgm:pt modelId="{63B7A575-DE96-8645-AC5B-E6A39AF5DC6C}" type="pres">
      <dgm:prSet presAssocID="{E113F167-9579-4644-A4F7-939B86BCAA24}" presName="text2" presStyleLbl="fgAcc2" presStyleIdx="0" presStyleCnt="2">
        <dgm:presLayoutVars>
          <dgm:chPref val="3"/>
        </dgm:presLayoutVars>
      </dgm:prSet>
      <dgm:spPr/>
      <dgm:t>
        <a:bodyPr/>
        <a:lstStyle/>
        <a:p>
          <a:endParaRPr lang="en-US"/>
        </a:p>
      </dgm:t>
    </dgm:pt>
    <dgm:pt modelId="{9FB19EFB-3BC8-0249-A6BE-2B9BC16A185F}" type="pres">
      <dgm:prSet presAssocID="{E113F167-9579-4644-A4F7-939B86BCAA24}" presName="hierChild3" presStyleCnt="0"/>
      <dgm:spPr/>
    </dgm:pt>
    <dgm:pt modelId="{D9422978-523E-CD4F-8CF7-3BB498BE958D}" type="pres">
      <dgm:prSet presAssocID="{87A4BA89-2DBF-3042-9C8D-BB013EF6202F}" presName="Name17" presStyleLbl="parChTrans1D3" presStyleIdx="0" presStyleCnt="3"/>
      <dgm:spPr/>
      <dgm:t>
        <a:bodyPr/>
        <a:lstStyle/>
        <a:p>
          <a:endParaRPr lang="en-US"/>
        </a:p>
      </dgm:t>
    </dgm:pt>
    <dgm:pt modelId="{9B3F31B8-64E5-3045-BCD3-C0B9E4BBE336}" type="pres">
      <dgm:prSet presAssocID="{E5F9A2C3-03B9-A845-AA7C-0E8EBD53E3DE}" presName="hierRoot3" presStyleCnt="0"/>
      <dgm:spPr/>
    </dgm:pt>
    <dgm:pt modelId="{592AEBDD-B049-084F-9606-DD51E23C8265}" type="pres">
      <dgm:prSet presAssocID="{E5F9A2C3-03B9-A845-AA7C-0E8EBD53E3DE}" presName="composite3" presStyleCnt="0"/>
      <dgm:spPr/>
    </dgm:pt>
    <dgm:pt modelId="{B7350A6E-394F-BB43-BE94-4E26FED2EBD2}" type="pres">
      <dgm:prSet presAssocID="{E5F9A2C3-03B9-A845-AA7C-0E8EBD53E3DE}" presName="background3" presStyleLbl="node3" presStyleIdx="0" presStyleCnt="3"/>
      <dgm:spPr/>
    </dgm:pt>
    <dgm:pt modelId="{C70A0475-1CC2-774A-8C22-A2353C6785EC}" type="pres">
      <dgm:prSet presAssocID="{E5F9A2C3-03B9-A845-AA7C-0E8EBD53E3DE}" presName="text3" presStyleLbl="fgAcc3" presStyleIdx="0" presStyleCnt="3">
        <dgm:presLayoutVars>
          <dgm:chPref val="3"/>
        </dgm:presLayoutVars>
      </dgm:prSet>
      <dgm:spPr/>
      <dgm:t>
        <a:bodyPr/>
        <a:lstStyle/>
        <a:p>
          <a:endParaRPr lang="en-US"/>
        </a:p>
      </dgm:t>
    </dgm:pt>
    <dgm:pt modelId="{9C6AA9DC-F29D-5142-9D54-F4F84B3052E5}" type="pres">
      <dgm:prSet presAssocID="{E5F9A2C3-03B9-A845-AA7C-0E8EBD53E3DE}" presName="hierChild4" presStyleCnt="0"/>
      <dgm:spPr/>
    </dgm:pt>
    <dgm:pt modelId="{88AF7F94-DB0A-F044-8776-B2A20A2D2686}" type="pres">
      <dgm:prSet presAssocID="{1B786CD7-45FA-9D41-8B22-B601F7A827A2}" presName="Name10" presStyleLbl="parChTrans1D2" presStyleIdx="1" presStyleCnt="2"/>
      <dgm:spPr/>
      <dgm:t>
        <a:bodyPr/>
        <a:lstStyle/>
        <a:p>
          <a:endParaRPr lang="en-US"/>
        </a:p>
      </dgm:t>
    </dgm:pt>
    <dgm:pt modelId="{25F64D7D-38CB-FF4A-B8C2-259CD448B2EE}" type="pres">
      <dgm:prSet presAssocID="{D02EA594-81C3-314D-A1B7-696AA8C9648F}" presName="hierRoot2" presStyleCnt="0"/>
      <dgm:spPr/>
    </dgm:pt>
    <dgm:pt modelId="{332362E7-28B5-3D4C-ADA4-0705072D8B94}" type="pres">
      <dgm:prSet presAssocID="{D02EA594-81C3-314D-A1B7-696AA8C9648F}" presName="composite2" presStyleCnt="0"/>
      <dgm:spPr/>
    </dgm:pt>
    <dgm:pt modelId="{427BAE15-FB5D-CF46-B60E-EE174256773F}" type="pres">
      <dgm:prSet presAssocID="{D02EA594-81C3-314D-A1B7-696AA8C9648F}" presName="background2" presStyleLbl="node2" presStyleIdx="1" presStyleCnt="2"/>
      <dgm:spPr/>
    </dgm:pt>
    <dgm:pt modelId="{73BA27F4-3664-6B4F-871E-ED38BC6294D2}" type="pres">
      <dgm:prSet presAssocID="{D02EA594-81C3-314D-A1B7-696AA8C9648F}" presName="text2" presStyleLbl="fgAcc2" presStyleIdx="1" presStyleCnt="2">
        <dgm:presLayoutVars>
          <dgm:chPref val="3"/>
        </dgm:presLayoutVars>
      </dgm:prSet>
      <dgm:spPr/>
      <dgm:t>
        <a:bodyPr/>
        <a:lstStyle/>
        <a:p>
          <a:endParaRPr lang="en-US"/>
        </a:p>
      </dgm:t>
    </dgm:pt>
    <dgm:pt modelId="{871F69FA-CEF6-6545-8F89-04325B1FED96}" type="pres">
      <dgm:prSet presAssocID="{D02EA594-81C3-314D-A1B7-696AA8C9648F}" presName="hierChild3" presStyleCnt="0"/>
      <dgm:spPr/>
    </dgm:pt>
    <dgm:pt modelId="{BE2A5B58-D991-F241-86D6-29C441398F16}" type="pres">
      <dgm:prSet presAssocID="{873461D6-0908-B542-9EC4-C2B89C986A7F}" presName="Name17" presStyleLbl="parChTrans1D3" presStyleIdx="1" presStyleCnt="3"/>
      <dgm:spPr/>
      <dgm:t>
        <a:bodyPr/>
        <a:lstStyle/>
        <a:p>
          <a:endParaRPr lang="en-US"/>
        </a:p>
      </dgm:t>
    </dgm:pt>
    <dgm:pt modelId="{19F77E30-4950-DA43-B9AB-4FCA0676D9D2}" type="pres">
      <dgm:prSet presAssocID="{2E638D7C-1ED2-204B-A129-857DACDB62BF}" presName="hierRoot3" presStyleCnt="0"/>
      <dgm:spPr/>
    </dgm:pt>
    <dgm:pt modelId="{6B359887-F8B5-9D4D-BF20-71A1DCE0EBB8}" type="pres">
      <dgm:prSet presAssocID="{2E638D7C-1ED2-204B-A129-857DACDB62BF}" presName="composite3" presStyleCnt="0"/>
      <dgm:spPr/>
    </dgm:pt>
    <dgm:pt modelId="{AEEAB671-2D1B-D443-A46C-C1C1A416D93A}" type="pres">
      <dgm:prSet presAssocID="{2E638D7C-1ED2-204B-A129-857DACDB62BF}" presName="background3" presStyleLbl="node3" presStyleIdx="1" presStyleCnt="3"/>
      <dgm:spPr/>
    </dgm:pt>
    <dgm:pt modelId="{0F86F561-35CE-1D4C-B6D8-F85682496E29}" type="pres">
      <dgm:prSet presAssocID="{2E638D7C-1ED2-204B-A129-857DACDB62BF}" presName="text3" presStyleLbl="fgAcc3" presStyleIdx="1" presStyleCnt="3">
        <dgm:presLayoutVars>
          <dgm:chPref val="3"/>
        </dgm:presLayoutVars>
      </dgm:prSet>
      <dgm:spPr/>
      <dgm:t>
        <a:bodyPr/>
        <a:lstStyle/>
        <a:p>
          <a:endParaRPr lang="en-US"/>
        </a:p>
      </dgm:t>
    </dgm:pt>
    <dgm:pt modelId="{5B377F24-BF42-F841-AD43-70F796E4188D}" type="pres">
      <dgm:prSet presAssocID="{2E638D7C-1ED2-204B-A129-857DACDB62BF}" presName="hierChild4" presStyleCnt="0"/>
      <dgm:spPr/>
    </dgm:pt>
    <dgm:pt modelId="{627D7303-76E1-1B4B-9836-288B5133FB0E}" type="pres">
      <dgm:prSet presAssocID="{BD1A5A5E-C0A8-E047-B660-2F61D7C41CA2}" presName="Name23" presStyleLbl="parChTrans1D4" presStyleIdx="0" presStyleCnt="23"/>
      <dgm:spPr/>
      <dgm:t>
        <a:bodyPr/>
        <a:lstStyle/>
        <a:p>
          <a:endParaRPr lang="en-US"/>
        </a:p>
      </dgm:t>
    </dgm:pt>
    <dgm:pt modelId="{E86C0A30-D506-464C-8366-FA4C498352E8}" type="pres">
      <dgm:prSet presAssocID="{A4489D2D-3502-E744-B42A-C544FB6E1DD6}" presName="hierRoot4" presStyleCnt="0"/>
      <dgm:spPr/>
    </dgm:pt>
    <dgm:pt modelId="{26BF0249-648C-8E4E-96D0-4C2194413DC6}" type="pres">
      <dgm:prSet presAssocID="{A4489D2D-3502-E744-B42A-C544FB6E1DD6}" presName="composite4" presStyleCnt="0"/>
      <dgm:spPr/>
    </dgm:pt>
    <dgm:pt modelId="{FDE0AEF6-A34A-8342-9A8E-A03414AE2766}" type="pres">
      <dgm:prSet presAssocID="{A4489D2D-3502-E744-B42A-C544FB6E1DD6}" presName="background4" presStyleLbl="node4" presStyleIdx="0" presStyleCnt="23"/>
      <dgm:spPr/>
    </dgm:pt>
    <dgm:pt modelId="{138A536F-7683-004E-B24D-20AF4521B901}" type="pres">
      <dgm:prSet presAssocID="{A4489D2D-3502-E744-B42A-C544FB6E1DD6}" presName="text4" presStyleLbl="fgAcc4" presStyleIdx="0" presStyleCnt="23">
        <dgm:presLayoutVars>
          <dgm:chPref val="3"/>
        </dgm:presLayoutVars>
      </dgm:prSet>
      <dgm:spPr/>
      <dgm:t>
        <a:bodyPr/>
        <a:lstStyle/>
        <a:p>
          <a:endParaRPr lang="en-US"/>
        </a:p>
      </dgm:t>
    </dgm:pt>
    <dgm:pt modelId="{4E1DDDB0-0549-3E4C-9293-526E13E384C2}" type="pres">
      <dgm:prSet presAssocID="{A4489D2D-3502-E744-B42A-C544FB6E1DD6}" presName="hierChild5" presStyleCnt="0"/>
      <dgm:spPr/>
    </dgm:pt>
    <dgm:pt modelId="{8902A2A4-59E8-7449-A3E0-DEF28AE2293D}" type="pres">
      <dgm:prSet presAssocID="{FA3EC8C9-D05F-6741-9BD7-9CB8F0F0F1AF}" presName="Name23" presStyleLbl="parChTrans1D4" presStyleIdx="1" presStyleCnt="23"/>
      <dgm:spPr/>
      <dgm:t>
        <a:bodyPr/>
        <a:lstStyle/>
        <a:p>
          <a:endParaRPr lang="en-US"/>
        </a:p>
      </dgm:t>
    </dgm:pt>
    <dgm:pt modelId="{C31E280C-00BB-0446-A09B-546AC6E61B73}" type="pres">
      <dgm:prSet presAssocID="{BA7BA35D-9D12-044C-98F4-9F2585E6C4D0}" presName="hierRoot4" presStyleCnt="0"/>
      <dgm:spPr/>
    </dgm:pt>
    <dgm:pt modelId="{C559DC98-2C94-2948-96D8-AB7E0F371114}" type="pres">
      <dgm:prSet presAssocID="{BA7BA35D-9D12-044C-98F4-9F2585E6C4D0}" presName="composite4" presStyleCnt="0"/>
      <dgm:spPr/>
    </dgm:pt>
    <dgm:pt modelId="{DB7226B8-A6A0-9647-83EE-4AF67924B5DE}" type="pres">
      <dgm:prSet presAssocID="{BA7BA35D-9D12-044C-98F4-9F2585E6C4D0}" presName="background4" presStyleLbl="node4" presStyleIdx="1" presStyleCnt="23"/>
      <dgm:spPr/>
    </dgm:pt>
    <dgm:pt modelId="{518508A5-E43B-D543-B40E-DE0B1130963D}" type="pres">
      <dgm:prSet presAssocID="{BA7BA35D-9D12-044C-98F4-9F2585E6C4D0}" presName="text4" presStyleLbl="fgAcc4" presStyleIdx="1" presStyleCnt="23">
        <dgm:presLayoutVars>
          <dgm:chPref val="3"/>
        </dgm:presLayoutVars>
      </dgm:prSet>
      <dgm:spPr/>
      <dgm:t>
        <a:bodyPr/>
        <a:lstStyle/>
        <a:p>
          <a:endParaRPr lang="en-US"/>
        </a:p>
      </dgm:t>
    </dgm:pt>
    <dgm:pt modelId="{7259FDC0-4FB0-E246-B11E-B60BFEF8BE2F}" type="pres">
      <dgm:prSet presAssocID="{BA7BA35D-9D12-044C-98F4-9F2585E6C4D0}" presName="hierChild5" presStyleCnt="0"/>
      <dgm:spPr/>
    </dgm:pt>
    <dgm:pt modelId="{3F0E2D44-568D-9449-A3A0-408C0345B63E}" type="pres">
      <dgm:prSet presAssocID="{F30BCE99-25A9-8E46-B5AA-904BFC78A896}" presName="Name23" presStyleLbl="parChTrans1D4" presStyleIdx="2" presStyleCnt="23"/>
      <dgm:spPr/>
      <dgm:t>
        <a:bodyPr/>
        <a:lstStyle/>
        <a:p>
          <a:endParaRPr lang="en-US"/>
        </a:p>
      </dgm:t>
    </dgm:pt>
    <dgm:pt modelId="{2E78CF73-8619-DE49-A73F-A60F12ED9939}" type="pres">
      <dgm:prSet presAssocID="{4BD28DB6-5285-2044-B998-F61C438E047B}" presName="hierRoot4" presStyleCnt="0"/>
      <dgm:spPr/>
    </dgm:pt>
    <dgm:pt modelId="{C95BAAC4-726E-8642-AD7F-A721FCD36E67}" type="pres">
      <dgm:prSet presAssocID="{4BD28DB6-5285-2044-B998-F61C438E047B}" presName="composite4" presStyleCnt="0"/>
      <dgm:spPr/>
    </dgm:pt>
    <dgm:pt modelId="{79F57F85-F418-E44C-987A-F9F3393C53E7}" type="pres">
      <dgm:prSet presAssocID="{4BD28DB6-5285-2044-B998-F61C438E047B}" presName="background4" presStyleLbl="node4" presStyleIdx="2" presStyleCnt="23"/>
      <dgm:spPr/>
    </dgm:pt>
    <dgm:pt modelId="{07B98606-11FE-CA48-8422-B298E5C42992}" type="pres">
      <dgm:prSet presAssocID="{4BD28DB6-5285-2044-B998-F61C438E047B}" presName="text4" presStyleLbl="fgAcc4" presStyleIdx="2" presStyleCnt="23">
        <dgm:presLayoutVars>
          <dgm:chPref val="3"/>
        </dgm:presLayoutVars>
      </dgm:prSet>
      <dgm:spPr/>
      <dgm:t>
        <a:bodyPr/>
        <a:lstStyle/>
        <a:p>
          <a:endParaRPr lang="en-US"/>
        </a:p>
      </dgm:t>
    </dgm:pt>
    <dgm:pt modelId="{3F5692C5-1FAA-F543-B6FC-E43AB97275E3}" type="pres">
      <dgm:prSet presAssocID="{4BD28DB6-5285-2044-B998-F61C438E047B}" presName="hierChild5" presStyleCnt="0"/>
      <dgm:spPr/>
    </dgm:pt>
    <dgm:pt modelId="{4ED83D31-C156-1947-844E-17B2AFD7FA96}" type="pres">
      <dgm:prSet presAssocID="{61A347D8-DE43-FF40-B913-0F7C122392A5}" presName="Name23" presStyleLbl="parChTrans1D4" presStyleIdx="3" presStyleCnt="23"/>
      <dgm:spPr/>
      <dgm:t>
        <a:bodyPr/>
        <a:lstStyle/>
        <a:p>
          <a:endParaRPr lang="en-US"/>
        </a:p>
      </dgm:t>
    </dgm:pt>
    <dgm:pt modelId="{7E75C92C-6547-7D4B-BDDE-FD85FB7C981E}" type="pres">
      <dgm:prSet presAssocID="{D429C98F-D7AF-4247-8A9A-387DAC271322}" presName="hierRoot4" presStyleCnt="0"/>
      <dgm:spPr/>
    </dgm:pt>
    <dgm:pt modelId="{960950A3-D9C5-2446-90B6-0F3A287A3D22}" type="pres">
      <dgm:prSet presAssocID="{D429C98F-D7AF-4247-8A9A-387DAC271322}" presName="composite4" presStyleCnt="0"/>
      <dgm:spPr/>
    </dgm:pt>
    <dgm:pt modelId="{A0D537F5-FBE3-714F-928F-348A62D6B38B}" type="pres">
      <dgm:prSet presAssocID="{D429C98F-D7AF-4247-8A9A-387DAC271322}" presName="background4" presStyleLbl="node4" presStyleIdx="3" presStyleCnt="23"/>
      <dgm:spPr/>
    </dgm:pt>
    <dgm:pt modelId="{CF122DAB-A066-7E44-8FA3-442C022AEA85}" type="pres">
      <dgm:prSet presAssocID="{D429C98F-D7AF-4247-8A9A-387DAC271322}" presName="text4" presStyleLbl="fgAcc4" presStyleIdx="3" presStyleCnt="23">
        <dgm:presLayoutVars>
          <dgm:chPref val="3"/>
        </dgm:presLayoutVars>
      </dgm:prSet>
      <dgm:spPr/>
      <dgm:t>
        <a:bodyPr/>
        <a:lstStyle/>
        <a:p>
          <a:endParaRPr lang="en-US"/>
        </a:p>
      </dgm:t>
    </dgm:pt>
    <dgm:pt modelId="{29110284-9E97-7E4C-833F-B6FF7678A9D7}" type="pres">
      <dgm:prSet presAssocID="{D429C98F-D7AF-4247-8A9A-387DAC271322}" presName="hierChild5" presStyleCnt="0"/>
      <dgm:spPr/>
    </dgm:pt>
    <dgm:pt modelId="{2CFBB32C-E833-D742-A141-2B3CC88B5EB3}" type="pres">
      <dgm:prSet presAssocID="{466DC4F5-965B-9D43-BF6E-7AD89DEAA275}" presName="Name23" presStyleLbl="parChTrans1D4" presStyleIdx="4" presStyleCnt="23"/>
      <dgm:spPr/>
      <dgm:t>
        <a:bodyPr/>
        <a:lstStyle/>
        <a:p>
          <a:endParaRPr lang="en-US"/>
        </a:p>
      </dgm:t>
    </dgm:pt>
    <dgm:pt modelId="{89E257BC-CA66-314A-BBAD-CD0E233018BC}" type="pres">
      <dgm:prSet presAssocID="{3F62D1AF-EC47-EC4E-832D-94DE2BE98B6C}" presName="hierRoot4" presStyleCnt="0"/>
      <dgm:spPr/>
    </dgm:pt>
    <dgm:pt modelId="{B55AA3B4-AA3A-3F43-97E5-47276F0CFCC6}" type="pres">
      <dgm:prSet presAssocID="{3F62D1AF-EC47-EC4E-832D-94DE2BE98B6C}" presName="composite4" presStyleCnt="0"/>
      <dgm:spPr/>
    </dgm:pt>
    <dgm:pt modelId="{3601B935-0BB7-8546-9694-07DB6C0B89FA}" type="pres">
      <dgm:prSet presAssocID="{3F62D1AF-EC47-EC4E-832D-94DE2BE98B6C}" presName="background4" presStyleLbl="node4" presStyleIdx="4" presStyleCnt="23"/>
      <dgm:spPr/>
    </dgm:pt>
    <dgm:pt modelId="{212EEA2B-6397-6142-B487-01466663B327}" type="pres">
      <dgm:prSet presAssocID="{3F62D1AF-EC47-EC4E-832D-94DE2BE98B6C}" presName="text4" presStyleLbl="fgAcc4" presStyleIdx="4" presStyleCnt="23">
        <dgm:presLayoutVars>
          <dgm:chPref val="3"/>
        </dgm:presLayoutVars>
      </dgm:prSet>
      <dgm:spPr/>
      <dgm:t>
        <a:bodyPr/>
        <a:lstStyle/>
        <a:p>
          <a:endParaRPr lang="en-US"/>
        </a:p>
      </dgm:t>
    </dgm:pt>
    <dgm:pt modelId="{E71F7DEC-9749-D847-8BD1-B4DEC2AA37CE}" type="pres">
      <dgm:prSet presAssocID="{3F62D1AF-EC47-EC4E-832D-94DE2BE98B6C}" presName="hierChild5" presStyleCnt="0"/>
      <dgm:spPr/>
    </dgm:pt>
    <dgm:pt modelId="{43101436-2016-7D4F-AE5D-B2652F8CE5E8}" type="pres">
      <dgm:prSet presAssocID="{34209A5B-396D-7748-89CA-F9440E9A4C72}" presName="Name23" presStyleLbl="parChTrans1D4" presStyleIdx="5" presStyleCnt="23"/>
      <dgm:spPr/>
      <dgm:t>
        <a:bodyPr/>
        <a:lstStyle/>
        <a:p>
          <a:endParaRPr lang="en-US"/>
        </a:p>
      </dgm:t>
    </dgm:pt>
    <dgm:pt modelId="{13B86624-1F16-124E-A15B-02289BCB65EF}" type="pres">
      <dgm:prSet presAssocID="{0B462BE1-A379-6245-AD8F-F10FD4B31998}" presName="hierRoot4" presStyleCnt="0"/>
      <dgm:spPr/>
    </dgm:pt>
    <dgm:pt modelId="{56079AA0-8FC8-994D-97D6-340181E590A0}" type="pres">
      <dgm:prSet presAssocID="{0B462BE1-A379-6245-AD8F-F10FD4B31998}" presName="composite4" presStyleCnt="0"/>
      <dgm:spPr/>
    </dgm:pt>
    <dgm:pt modelId="{55A028E3-9F76-5C46-AD58-CB2D44B5DE09}" type="pres">
      <dgm:prSet presAssocID="{0B462BE1-A379-6245-AD8F-F10FD4B31998}" presName="background4" presStyleLbl="node4" presStyleIdx="5" presStyleCnt="23"/>
      <dgm:spPr/>
    </dgm:pt>
    <dgm:pt modelId="{ECB6BE80-AC9C-CE49-B2E7-28D9FEBE13B5}" type="pres">
      <dgm:prSet presAssocID="{0B462BE1-A379-6245-AD8F-F10FD4B31998}" presName="text4" presStyleLbl="fgAcc4" presStyleIdx="5" presStyleCnt="23">
        <dgm:presLayoutVars>
          <dgm:chPref val="3"/>
        </dgm:presLayoutVars>
      </dgm:prSet>
      <dgm:spPr/>
      <dgm:t>
        <a:bodyPr/>
        <a:lstStyle/>
        <a:p>
          <a:endParaRPr lang="en-US"/>
        </a:p>
      </dgm:t>
    </dgm:pt>
    <dgm:pt modelId="{D9C617D3-A9FE-1545-B41A-4AD35F559674}" type="pres">
      <dgm:prSet presAssocID="{0B462BE1-A379-6245-AD8F-F10FD4B31998}" presName="hierChild5" presStyleCnt="0"/>
      <dgm:spPr/>
    </dgm:pt>
    <dgm:pt modelId="{AF847CF5-5AEC-1E44-9F29-F9E6515AAADE}" type="pres">
      <dgm:prSet presAssocID="{794D827A-2A8B-DD49-A8B1-9054F6A595E2}" presName="Name23" presStyleLbl="parChTrans1D4" presStyleIdx="6" presStyleCnt="23"/>
      <dgm:spPr/>
      <dgm:t>
        <a:bodyPr/>
        <a:lstStyle/>
        <a:p>
          <a:endParaRPr lang="en-US"/>
        </a:p>
      </dgm:t>
    </dgm:pt>
    <dgm:pt modelId="{2B80A708-BB63-1F4E-A062-90D8D87EDE07}" type="pres">
      <dgm:prSet presAssocID="{B15DE8A6-FA76-B940-8435-E709EF4FA037}" presName="hierRoot4" presStyleCnt="0"/>
      <dgm:spPr/>
    </dgm:pt>
    <dgm:pt modelId="{DF6363BA-C28C-D84E-A2FE-28CA07FD2B6C}" type="pres">
      <dgm:prSet presAssocID="{B15DE8A6-FA76-B940-8435-E709EF4FA037}" presName="composite4" presStyleCnt="0"/>
      <dgm:spPr/>
    </dgm:pt>
    <dgm:pt modelId="{9C81A0D5-5419-354C-9E94-C35569F2ABF5}" type="pres">
      <dgm:prSet presAssocID="{B15DE8A6-FA76-B940-8435-E709EF4FA037}" presName="background4" presStyleLbl="node4" presStyleIdx="6" presStyleCnt="23"/>
      <dgm:spPr/>
    </dgm:pt>
    <dgm:pt modelId="{134BD606-4D56-8646-8943-99D7AFE43949}" type="pres">
      <dgm:prSet presAssocID="{B15DE8A6-FA76-B940-8435-E709EF4FA037}" presName="text4" presStyleLbl="fgAcc4" presStyleIdx="6" presStyleCnt="23">
        <dgm:presLayoutVars>
          <dgm:chPref val="3"/>
        </dgm:presLayoutVars>
      </dgm:prSet>
      <dgm:spPr/>
      <dgm:t>
        <a:bodyPr/>
        <a:lstStyle/>
        <a:p>
          <a:endParaRPr lang="en-US"/>
        </a:p>
      </dgm:t>
    </dgm:pt>
    <dgm:pt modelId="{638B923B-4709-A040-83C8-9851B3A180C1}" type="pres">
      <dgm:prSet presAssocID="{B15DE8A6-FA76-B940-8435-E709EF4FA037}" presName="hierChild5" presStyleCnt="0"/>
      <dgm:spPr/>
    </dgm:pt>
    <dgm:pt modelId="{2679EBE4-B7CF-9A40-B23C-62FAAF390EA4}" type="pres">
      <dgm:prSet presAssocID="{FF966559-30A4-E643-A3BE-EA8623C4ED98}" presName="Name23" presStyleLbl="parChTrans1D4" presStyleIdx="7" presStyleCnt="23"/>
      <dgm:spPr/>
      <dgm:t>
        <a:bodyPr/>
        <a:lstStyle/>
        <a:p>
          <a:endParaRPr lang="en-US"/>
        </a:p>
      </dgm:t>
    </dgm:pt>
    <dgm:pt modelId="{6ACD9610-613E-2343-80D8-6ED308247EE8}" type="pres">
      <dgm:prSet presAssocID="{55BF1963-16BE-D94D-8987-C22786904932}" presName="hierRoot4" presStyleCnt="0"/>
      <dgm:spPr/>
    </dgm:pt>
    <dgm:pt modelId="{BE216326-439D-EC48-B700-17E1CE8E6E8A}" type="pres">
      <dgm:prSet presAssocID="{55BF1963-16BE-D94D-8987-C22786904932}" presName="composite4" presStyleCnt="0"/>
      <dgm:spPr/>
    </dgm:pt>
    <dgm:pt modelId="{3790961E-D16E-0644-899C-CCCF0EA6410B}" type="pres">
      <dgm:prSet presAssocID="{55BF1963-16BE-D94D-8987-C22786904932}" presName="background4" presStyleLbl="node4" presStyleIdx="7" presStyleCnt="23"/>
      <dgm:spPr/>
    </dgm:pt>
    <dgm:pt modelId="{C49EAA8B-EE1F-CA48-8B03-2A7021ADE29D}" type="pres">
      <dgm:prSet presAssocID="{55BF1963-16BE-D94D-8987-C22786904932}" presName="text4" presStyleLbl="fgAcc4" presStyleIdx="7" presStyleCnt="23">
        <dgm:presLayoutVars>
          <dgm:chPref val="3"/>
        </dgm:presLayoutVars>
      </dgm:prSet>
      <dgm:spPr/>
      <dgm:t>
        <a:bodyPr/>
        <a:lstStyle/>
        <a:p>
          <a:endParaRPr lang="en-US"/>
        </a:p>
      </dgm:t>
    </dgm:pt>
    <dgm:pt modelId="{C9018B06-1494-5B47-AAF8-C383EE47E011}" type="pres">
      <dgm:prSet presAssocID="{55BF1963-16BE-D94D-8987-C22786904932}" presName="hierChild5" presStyleCnt="0"/>
      <dgm:spPr/>
    </dgm:pt>
    <dgm:pt modelId="{D987B80A-1F0C-0D4B-9169-98364EEDB9EA}" type="pres">
      <dgm:prSet presAssocID="{6287AE0E-58C8-F04A-93A0-94CD0EE18F37}" presName="Name23" presStyleLbl="parChTrans1D4" presStyleIdx="8" presStyleCnt="23"/>
      <dgm:spPr/>
      <dgm:t>
        <a:bodyPr/>
        <a:lstStyle/>
        <a:p>
          <a:endParaRPr lang="en-US"/>
        </a:p>
      </dgm:t>
    </dgm:pt>
    <dgm:pt modelId="{D5A2B955-AB33-9644-B434-71E7E24B6690}" type="pres">
      <dgm:prSet presAssocID="{6BC94220-1974-824C-8ECA-AE3D20E6BEEC}" presName="hierRoot4" presStyleCnt="0"/>
      <dgm:spPr/>
    </dgm:pt>
    <dgm:pt modelId="{7499A2C1-2C5A-984A-8284-6EB2E4D09AE3}" type="pres">
      <dgm:prSet presAssocID="{6BC94220-1974-824C-8ECA-AE3D20E6BEEC}" presName="composite4" presStyleCnt="0"/>
      <dgm:spPr/>
    </dgm:pt>
    <dgm:pt modelId="{2E362A95-1751-7345-B0C4-23CF52CC693A}" type="pres">
      <dgm:prSet presAssocID="{6BC94220-1974-824C-8ECA-AE3D20E6BEEC}" presName="background4" presStyleLbl="node4" presStyleIdx="8" presStyleCnt="23"/>
      <dgm:spPr/>
    </dgm:pt>
    <dgm:pt modelId="{16A8F599-108A-BE46-B875-19727052ADF8}" type="pres">
      <dgm:prSet presAssocID="{6BC94220-1974-824C-8ECA-AE3D20E6BEEC}" presName="text4" presStyleLbl="fgAcc4" presStyleIdx="8" presStyleCnt="23">
        <dgm:presLayoutVars>
          <dgm:chPref val="3"/>
        </dgm:presLayoutVars>
      </dgm:prSet>
      <dgm:spPr/>
      <dgm:t>
        <a:bodyPr/>
        <a:lstStyle/>
        <a:p>
          <a:endParaRPr lang="en-US"/>
        </a:p>
      </dgm:t>
    </dgm:pt>
    <dgm:pt modelId="{99BA75D5-65BE-A44F-9018-8BE8A28B3B1B}" type="pres">
      <dgm:prSet presAssocID="{6BC94220-1974-824C-8ECA-AE3D20E6BEEC}" presName="hierChild5" presStyleCnt="0"/>
      <dgm:spPr/>
    </dgm:pt>
    <dgm:pt modelId="{5A5C0017-0142-0048-BAE0-542180AA7BF5}" type="pres">
      <dgm:prSet presAssocID="{739AA743-EECA-9542-80FC-116372C2D689}" presName="Name23" presStyleLbl="parChTrans1D4" presStyleIdx="9" presStyleCnt="23"/>
      <dgm:spPr/>
      <dgm:t>
        <a:bodyPr/>
        <a:lstStyle/>
        <a:p>
          <a:endParaRPr lang="en-US"/>
        </a:p>
      </dgm:t>
    </dgm:pt>
    <dgm:pt modelId="{B17F81E2-3FC9-C84D-AC2F-8A7435A767DD}" type="pres">
      <dgm:prSet presAssocID="{92AA3F81-FC54-934C-9AC8-4D4970F2CB69}" presName="hierRoot4" presStyleCnt="0"/>
      <dgm:spPr/>
    </dgm:pt>
    <dgm:pt modelId="{2E4D52A2-6C7D-3B45-884D-EBEA1CE83B3D}" type="pres">
      <dgm:prSet presAssocID="{92AA3F81-FC54-934C-9AC8-4D4970F2CB69}" presName="composite4" presStyleCnt="0"/>
      <dgm:spPr/>
    </dgm:pt>
    <dgm:pt modelId="{4097E5AA-1B44-564F-A667-7A49BD2DD1A4}" type="pres">
      <dgm:prSet presAssocID="{92AA3F81-FC54-934C-9AC8-4D4970F2CB69}" presName="background4" presStyleLbl="node4" presStyleIdx="9" presStyleCnt="23"/>
      <dgm:spPr/>
    </dgm:pt>
    <dgm:pt modelId="{B9A61C76-A7E3-6A4F-BB7E-2E9872B00A1A}" type="pres">
      <dgm:prSet presAssocID="{92AA3F81-FC54-934C-9AC8-4D4970F2CB69}" presName="text4" presStyleLbl="fgAcc4" presStyleIdx="9" presStyleCnt="23">
        <dgm:presLayoutVars>
          <dgm:chPref val="3"/>
        </dgm:presLayoutVars>
      </dgm:prSet>
      <dgm:spPr/>
      <dgm:t>
        <a:bodyPr/>
        <a:lstStyle/>
        <a:p>
          <a:endParaRPr lang="en-US"/>
        </a:p>
      </dgm:t>
    </dgm:pt>
    <dgm:pt modelId="{7F1F3E51-A34E-AB42-991B-699313BAC13A}" type="pres">
      <dgm:prSet presAssocID="{92AA3F81-FC54-934C-9AC8-4D4970F2CB69}" presName="hierChild5" presStyleCnt="0"/>
      <dgm:spPr/>
    </dgm:pt>
    <dgm:pt modelId="{B742E75B-0E40-B34D-A3EA-A53ACCBA4C9D}" type="pres">
      <dgm:prSet presAssocID="{2DD49C9F-88B3-404E-8B9B-824CBDDE8DFA}" presName="Name23" presStyleLbl="parChTrans1D4" presStyleIdx="10" presStyleCnt="23"/>
      <dgm:spPr/>
      <dgm:t>
        <a:bodyPr/>
        <a:lstStyle/>
        <a:p>
          <a:endParaRPr lang="en-US"/>
        </a:p>
      </dgm:t>
    </dgm:pt>
    <dgm:pt modelId="{FA9E642F-8325-C345-911C-28402911896B}" type="pres">
      <dgm:prSet presAssocID="{0A5A39D2-C024-D249-A53D-0114EC293BD6}" presName="hierRoot4" presStyleCnt="0"/>
      <dgm:spPr/>
    </dgm:pt>
    <dgm:pt modelId="{233F4CB5-CF03-6241-9A5C-17E7761093B1}" type="pres">
      <dgm:prSet presAssocID="{0A5A39D2-C024-D249-A53D-0114EC293BD6}" presName="composite4" presStyleCnt="0"/>
      <dgm:spPr/>
    </dgm:pt>
    <dgm:pt modelId="{A3384784-EA74-AF47-9299-41BC3A206A80}" type="pres">
      <dgm:prSet presAssocID="{0A5A39D2-C024-D249-A53D-0114EC293BD6}" presName="background4" presStyleLbl="node4" presStyleIdx="10" presStyleCnt="23"/>
      <dgm:spPr/>
    </dgm:pt>
    <dgm:pt modelId="{4F751C59-FDD2-E64C-BCA6-3266CEAE30D8}" type="pres">
      <dgm:prSet presAssocID="{0A5A39D2-C024-D249-A53D-0114EC293BD6}" presName="text4" presStyleLbl="fgAcc4" presStyleIdx="10" presStyleCnt="23">
        <dgm:presLayoutVars>
          <dgm:chPref val="3"/>
        </dgm:presLayoutVars>
      </dgm:prSet>
      <dgm:spPr/>
      <dgm:t>
        <a:bodyPr/>
        <a:lstStyle/>
        <a:p>
          <a:endParaRPr lang="en-US"/>
        </a:p>
      </dgm:t>
    </dgm:pt>
    <dgm:pt modelId="{2AF2BB2C-B2D9-4947-8897-7697A436B5E7}" type="pres">
      <dgm:prSet presAssocID="{0A5A39D2-C024-D249-A53D-0114EC293BD6}" presName="hierChild5" presStyleCnt="0"/>
      <dgm:spPr/>
    </dgm:pt>
    <dgm:pt modelId="{2C97ECF5-391F-AD48-A0FC-40171AE60FB5}" type="pres">
      <dgm:prSet presAssocID="{1EBD3E84-6E47-1845-90EA-1AE7D472BE5A}" presName="Name23" presStyleLbl="parChTrans1D4" presStyleIdx="11" presStyleCnt="23"/>
      <dgm:spPr/>
      <dgm:t>
        <a:bodyPr/>
        <a:lstStyle/>
        <a:p>
          <a:endParaRPr lang="en-US"/>
        </a:p>
      </dgm:t>
    </dgm:pt>
    <dgm:pt modelId="{C16EF800-D985-844B-989F-AA7F517B1525}" type="pres">
      <dgm:prSet presAssocID="{4506FFD5-F011-2643-BA74-69B9A4AB1E46}" presName="hierRoot4" presStyleCnt="0"/>
      <dgm:spPr/>
    </dgm:pt>
    <dgm:pt modelId="{96A1538C-643B-1C42-8D89-2214146C7E4A}" type="pres">
      <dgm:prSet presAssocID="{4506FFD5-F011-2643-BA74-69B9A4AB1E46}" presName="composite4" presStyleCnt="0"/>
      <dgm:spPr/>
    </dgm:pt>
    <dgm:pt modelId="{2AB36511-AAD8-004E-A5BA-EBB68D85F619}" type="pres">
      <dgm:prSet presAssocID="{4506FFD5-F011-2643-BA74-69B9A4AB1E46}" presName="background4" presStyleLbl="node4" presStyleIdx="11" presStyleCnt="23"/>
      <dgm:spPr/>
    </dgm:pt>
    <dgm:pt modelId="{805252F1-943A-1D4B-9D69-86B092705AB5}" type="pres">
      <dgm:prSet presAssocID="{4506FFD5-F011-2643-BA74-69B9A4AB1E46}" presName="text4" presStyleLbl="fgAcc4" presStyleIdx="11" presStyleCnt="23">
        <dgm:presLayoutVars>
          <dgm:chPref val="3"/>
        </dgm:presLayoutVars>
      </dgm:prSet>
      <dgm:spPr/>
      <dgm:t>
        <a:bodyPr/>
        <a:lstStyle/>
        <a:p>
          <a:endParaRPr lang="en-US"/>
        </a:p>
      </dgm:t>
    </dgm:pt>
    <dgm:pt modelId="{A4760D7B-F0FB-DF45-AF3B-918316282FEF}" type="pres">
      <dgm:prSet presAssocID="{4506FFD5-F011-2643-BA74-69B9A4AB1E46}" presName="hierChild5" presStyleCnt="0"/>
      <dgm:spPr/>
    </dgm:pt>
    <dgm:pt modelId="{469F2AD0-F93D-064F-A722-5183C63907B9}" type="pres">
      <dgm:prSet presAssocID="{AC8F7B63-81BB-1F41-ADA3-BA01298131AF}" presName="Name23" presStyleLbl="parChTrans1D4" presStyleIdx="12" presStyleCnt="23"/>
      <dgm:spPr/>
      <dgm:t>
        <a:bodyPr/>
        <a:lstStyle/>
        <a:p>
          <a:endParaRPr lang="en-US"/>
        </a:p>
      </dgm:t>
    </dgm:pt>
    <dgm:pt modelId="{FE14BB28-152E-EC4F-84AC-876087F31BC1}" type="pres">
      <dgm:prSet presAssocID="{C8417BBA-27E3-2E48-9E3C-0308895E70F6}" presName="hierRoot4" presStyleCnt="0"/>
      <dgm:spPr/>
    </dgm:pt>
    <dgm:pt modelId="{55DF614D-0405-1B4A-B659-E3F2F8E79BBB}" type="pres">
      <dgm:prSet presAssocID="{C8417BBA-27E3-2E48-9E3C-0308895E70F6}" presName="composite4" presStyleCnt="0"/>
      <dgm:spPr/>
    </dgm:pt>
    <dgm:pt modelId="{5E6FDB3B-E728-B449-9FD0-C3FB0B549FB8}" type="pres">
      <dgm:prSet presAssocID="{C8417BBA-27E3-2E48-9E3C-0308895E70F6}" presName="background4" presStyleLbl="node4" presStyleIdx="12" presStyleCnt="23"/>
      <dgm:spPr/>
    </dgm:pt>
    <dgm:pt modelId="{E79F91F4-191E-7945-9998-14AA60B617D3}" type="pres">
      <dgm:prSet presAssocID="{C8417BBA-27E3-2E48-9E3C-0308895E70F6}" presName="text4" presStyleLbl="fgAcc4" presStyleIdx="12" presStyleCnt="23">
        <dgm:presLayoutVars>
          <dgm:chPref val="3"/>
        </dgm:presLayoutVars>
      </dgm:prSet>
      <dgm:spPr/>
      <dgm:t>
        <a:bodyPr/>
        <a:lstStyle/>
        <a:p>
          <a:endParaRPr lang="en-US"/>
        </a:p>
      </dgm:t>
    </dgm:pt>
    <dgm:pt modelId="{A0A6E0BE-3B16-9A49-8CDC-8F8151AD3008}" type="pres">
      <dgm:prSet presAssocID="{C8417BBA-27E3-2E48-9E3C-0308895E70F6}" presName="hierChild5" presStyleCnt="0"/>
      <dgm:spPr/>
    </dgm:pt>
    <dgm:pt modelId="{DA8A0597-7B4B-D94A-B4DB-F7AECFFB7C06}" type="pres">
      <dgm:prSet presAssocID="{C89B0D98-01DD-484C-B54C-F9D00A6E7E4D}" presName="Name23" presStyleLbl="parChTrans1D4" presStyleIdx="13" presStyleCnt="23"/>
      <dgm:spPr/>
      <dgm:t>
        <a:bodyPr/>
        <a:lstStyle/>
        <a:p>
          <a:endParaRPr lang="en-US"/>
        </a:p>
      </dgm:t>
    </dgm:pt>
    <dgm:pt modelId="{944F14F1-C8D2-E34F-AA58-A671928E7568}" type="pres">
      <dgm:prSet presAssocID="{65A42FF3-1782-2740-AB61-F5BA3B70CB28}" presName="hierRoot4" presStyleCnt="0"/>
      <dgm:spPr/>
    </dgm:pt>
    <dgm:pt modelId="{349639B7-50A7-F64E-A61C-F18CF7DFA973}" type="pres">
      <dgm:prSet presAssocID="{65A42FF3-1782-2740-AB61-F5BA3B70CB28}" presName="composite4" presStyleCnt="0"/>
      <dgm:spPr/>
    </dgm:pt>
    <dgm:pt modelId="{607B1C25-8305-5943-9375-D877A4144D46}" type="pres">
      <dgm:prSet presAssocID="{65A42FF3-1782-2740-AB61-F5BA3B70CB28}" presName="background4" presStyleLbl="node4" presStyleIdx="13" presStyleCnt="23"/>
      <dgm:spPr/>
    </dgm:pt>
    <dgm:pt modelId="{038960CE-3E76-AF48-8AE9-FA6E04D38AC3}" type="pres">
      <dgm:prSet presAssocID="{65A42FF3-1782-2740-AB61-F5BA3B70CB28}" presName="text4" presStyleLbl="fgAcc4" presStyleIdx="13" presStyleCnt="23">
        <dgm:presLayoutVars>
          <dgm:chPref val="3"/>
        </dgm:presLayoutVars>
      </dgm:prSet>
      <dgm:spPr/>
      <dgm:t>
        <a:bodyPr/>
        <a:lstStyle/>
        <a:p>
          <a:endParaRPr lang="en-US"/>
        </a:p>
      </dgm:t>
    </dgm:pt>
    <dgm:pt modelId="{38D1A641-B34A-1D40-A4DA-5F5FDDA6D221}" type="pres">
      <dgm:prSet presAssocID="{65A42FF3-1782-2740-AB61-F5BA3B70CB28}" presName="hierChild5" presStyleCnt="0"/>
      <dgm:spPr/>
    </dgm:pt>
    <dgm:pt modelId="{8E668B2D-2CA2-A048-BDDE-80F9C5D3718A}" type="pres">
      <dgm:prSet presAssocID="{9B24C5E4-AE89-D242-9374-0F868E1C5E47}" presName="Name23" presStyleLbl="parChTrans1D4" presStyleIdx="14" presStyleCnt="23"/>
      <dgm:spPr/>
      <dgm:t>
        <a:bodyPr/>
        <a:lstStyle/>
        <a:p>
          <a:endParaRPr lang="en-US"/>
        </a:p>
      </dgm:t>
    </dgm:pt>
    <dgm:pt modelId="{8B58D450-7DFA-A34C-B06A-E15291A3D3F2}" type="pres">
      <dgm:prSet presAssocID="{BFD4AD48-D688-C041-9CA3-CCFF19DCCDE9}" presName="hierRoot4" presStyleCnt="0"/>
      <dgm:spPr/>
    </dgm:pt>
    <dgm:pt modelId="{D6FE51E1-87B1-C141-AAC4-6FE90E16C5A8}" type="pres">
      <dgm:prSet presAssocID="{BFD4AD48-D688-C041-9CA3-CCFF19DCCDE9}" presName="composite4" presStyleCnt="0"/>
      <dgm:spPr/>
    </dgm:pt>
    <dgm:pt modelId="{D03E4FC9-F0FF-F14D-902B-1051491F290A}" type="pres">
      <dgm:prSet presAssocID="{BFD4AD48-D688-C041-9CA3-CCFF19DCCDE9}" presName="background4" presStyleLbl="node4" presStyleIdx="14" presStyleCnt="23"/>
      <dgm:spPr/>
    </dgm:pt>
    <dgm:pt modelId="{4D203E00-9AEF-5841-8AB7-3D322CC00120}" type="pres">
      <dgm:prSet presAssocID="{BFD4AD48-D688-C041-9CA3-CCFF19DCCDE9}" presName="text4" presStyleLbl="fgAcc4" presStyleIdx="14" presStyleCnt="23">
        <dgm:presLayoutVars>
          <dgm:chPref val="3"/>
        </dgm:presLayoutVars>
      </dgm:prSet>
      <dgm:spPr/>
      <dgm:t>
        <a:bodyPr/>
        <a:lstStyle/>
        <a:p>
          <a:endParaRPr lang="en-US"/>
        </a:p>
      </dgm:t>
    </dgm:pt>
    <dgm:pt modelId="{077D4816-B3ED-904E-94CD-DAC0DCBB9361}" type="pres">
      <dgm:prSet presAssocID="{BFD4AD48-D688-C041-9CA3-CCFF19DCCDE9}" presName="hierChild5" presStyleCnt="0"/>
      <dgm:spPr/>
    </dgm:pt>
    <dgm:pt modelId="{03A6CAC0-9079-D147-81E2-9DF05C7C4B8F}" type="pres">
      <dgm:prSet presAssocID="{BE7C6BB9-7A02-ED47-A5C5-85AB61928407}" presName="Name23" presStyleLbl="parChTrans1D4" presStyleIdx="15" presStyleCnt="23"/>
      <dgm:spPr/>
      <dgm:t>
        <a:bodyPr/>
        <a:lstStyle/>
        <a:p>
          <a:endParaRPr lang="en-US"/>
        </a:p>
      </dgm:t>
    </dgm:pt>
    <dgm:pt modelId="{9D715358-7A02-CB4E-9475-417334231F29}" type="pres">
      <dgm:prSet presAssocID="{A6C7CB65-7D85-9640-ADDB-D6EB06AF9392}" presName="hierRoot4" presStyleCnt="0"/>
      <dgm:spPr/>
    </dgm:pt>
    <dgm:pt modelId="{96CAD329-8B61-FE42-AD35-28A7FD702AA3}" type="pres">
      <dgm:prSet presAssocID="{A6C7CB65-7D85-9640-ADDB-D6EB06AF9392}" presName="composite4" presStyleCnt="0"/>
      <dgm:spPr/>
    </dgm:pt>
    <dgm:pt modelId="{025894E3-A648-5242-A3C0-7EAC2A001FCC}" type="pres">
      <dgm:prSet presAssocID="{A6C7CB65-7D85-9640-ADDB-D6EB06AF9392}" presName="background4" presStyleLbl="node4" presStyleIdx="15" presStyleCnt="23"/>
      <dgm:spPr/>
    </dgm:pt>
    <dgm:pt modelId="{3BE7867F-A653-5C44-8CF1-7ED8AEFFAC8D}" type="pres">
      <dgm:prSet presAssocID="{A6C7CB65-7D85-9640-ADDB-D6EB06AF9392}" presName="text4" presStyleLbl="fgAcc4" presStyleIdx="15" presStyleCnt="23">
        <dgm:presLayoutVars>
          <dgm:chPref val="3"/>
        </dgm:presLayoutVars>
      </dgm:prSet>
      <dgm:spPr/>
      <dgm:t>
        <a:bodyPr/>
        <a:lstStyle/>
        <a:p>
          <a:endParaRPr lang="en-US"/>
        </a:p>
      </dgm:t>
    </dgm:pt>
    <dgm:pt modelId="{76BF6D5B-8A7E-944B-9072-9B7ED29C1EC5}" type="pres">
      <dgm:prSet presAssocID="{A6C7CB65-7D85-9640-ADDB-D6EB06AF9392}" presName="hierChild5" presStyleCnt="0"/>
      <dgm:spPr/>
    </dgm:pt>
    <dgm:pt modelId="{2C3C82AD-032B-AF4F-8E85-D4B6E9B226B3}" type="pres">
      <dgm:prSet presAssocID="{4FDFC228-5972-1143-9942-BF592A2858E5}" presName="Name23" presStyleLbl="parChTrans1D4" presStyleIdx="16" presStyleCnt="23"/>
      <dgm:spPr/>
      <dgm:t>
        <a:bodyPr/>
        <a:lstStyle/>
        <a:p>
          <a:endParaRPr lang="en-US"/>
        </a:p>
      </dgm:t>
    </dgm:pt>
    <dgm:pt modelId="{ACAA45A0-3A34-1843-8A80-97C1623BD8A4}" type="pres">
      <dgm:prSet presAssocID="{EB807657-1E7A-A147-A401-873AAD35182F}" presName="hierRoot4" presStyleCnt="0"/>
      <dgm:spPr/>
    </dgm:pt>
    <dgm:pt modelId="{A31245A6-C756-8D4D-9C6C-F66074AD75DA}" type="pres">
      <dgm:prSet presAssocID="{EB807657-1E7A-A147-A401-873AAD35182F}" presName="composite4" presStyleCnt="0"/>
      <dgm:spPr/>
    </dgm:pt>
    <dgm:pt modelId="{A1D5ED37-5F4B-FD47-835D-99F0047A7CB4}" type="pres">
      <dgm:prSet presAssocID="{EB807657-1E7A-A147-A401-873AAD35182F}" presName="background4" presStyleLbl="node4" presStyleIdx="16" presStyleCnt="23"/>
      <dgm:spPr/>
    </dgm:pt>
    <dgm:pt modelId="{CDEA9509-B499-424C-96B8-734413276BCE}" type="pres">
      <dgm:prSet presAssocID="{EB807657-1E7A-A147-A401-873AAD35182F}" presName="text4" presStyleLbl="fgAcc4" presStyleIdx="16" presStyleCnt="23">
        <dgm:presLayoutVars>
          <dgm:chPref val="3"/>
        </dgm:presLayoutVars>
      </dgm:prSet>
      <dgm:spPr/>
      <dgm:t>
        <a:bodyPr/>
        <a:lstStyle/>
        <a:p>
          <a:endParaRPr lang="en-US"/>
        </a:p>
      </dgm:t>
    </dgm:pt>
    <dgm:pt modelId="{BF62B1AE-3734-F94C-8186-3B68CEB4D459}" type="pres">
      <dgm:prSet presAssocID="{EB807657-1E7A-A147-A401-873AAD35182F}" presName="hierChild5" presStyleCnt="0"/>
      <dgm:spPr/>
    </dgm:pt>
    <dgm:pt modelId="{5B70798D-C3A6-1946-84AF-BEFEA2479205}" type="pres">
      <dgm:prSet presAssocID="{9CF4C73D-5AB3-D94A-8E4C-CF09AF55A75C}" presName="Name23" presStyleLbl="parChTrans1D4" presStyleIdx="17" presStyleCnt="23"/>
      <dgm:spPr/>
      <dgm:t>
        <a:bodyPr/>
        <a:lstStyle/>
        <a:p>
          <a:endParaRPr lang="en-US"/>
        </a:p>
      </dgm:t>
    </dgm:pt>
    <dgm:pt modelId="{B0F661A7-6FD3-3348-B04A-F89445AA867B}" type="pres">
      <dgm:prSet presAssocID="{91D9F0D0-E4CF-2D48-B101-51892ECE1701}" presName="hierRoot4" presStyleCnt="0"/>
      <dgm:spPr/>
    </dgm:pt>
    <dgm:pt modelId="{53D3061E-CF3D-7E4E-A14D-84B2D4B51332}" type="pres">
      <dgm:prSet presAssocID="{91D9F0D0-E4CF-2D48-B101-51892ECE1701}" presName="composite4" presStyleCnt="0"/>
      <dgm:spPr/>
    </dgm:pt>
    <dgm:pt modelId="{CC85ABB0-CF0D-414C-A508-180EF7460FF7}" type="pres">
      <dgm:prSet presAssocID="{91D9F0D0-E4CF-2D48-B101-51892ECE1701}" presName="background4" presStyleLbl="node4" presStyleIdx="17" presStyleCnt="23"/>
      <dgm:spPr/>
    </dgm:pt>
    <dgm:pt modelId="{68894350-48FC-5C49-9AC0-0472B7D6BED6}" type="pres">
      <dgm:prSet presAssocID="{91D9F0D0-E4CF-2D48-B101-51892ECE1701}" presName="text4" presStyleLbl="fgAcc4" presStyleIdx="17" presStyleCnt="23">
        <dgm:presLayoutVars>
          <dgm:chPref val="3"/>
        </dgm:presLayoutVars>
      </dgm:prSet>
      <dgm:spPr/>
      <dgm:t>
        <a:bodyPr/>
        <a:lstStyle/>
        <a:p>
          <a:endParaRPr lang="en-US"/>
        </a:p>
      </dgm:t>
    </dgm:pt>
    <dgm:pt modelId="{0C3EEAD1-4662-2F42-A30A-8F9BD17B42C4}" type="pres">
      <dgm:prSet presAssocID="{91D9F0D0-E4CF-2D48-B101-51892ECE1701}" presName="hierChild5" presStyleCnt="0"/>
      <dgm:spPr/>
    </dgm:pt>
    <dgm:pt modelId="{2808DE55-9F8A-8848-A7E9-4A1EF0C750AD}" type="pres">
      <dgm:prSet presAssocID="{ABDA1E80-6BE1-F044-A790-F4F7A2939337}" presName="Name23" presStyleLbl="parChTrans1D4" presStyleIdx="18" presStyleCnt="23"/>
      <dgm:spPr/>
      <dgm:t>
        <a:bodyPr/>
        <a:lstStyle/>
        <a:p>
          <a:endParaRPr lang="en-US"/>
        </a:p>
      </dgm:t>
    </dgm:pt>
    <dgm:pt modelId="{5B3C9380-9652-F646-8735-CDFBD3FFB414}" type="pres">
      <dgm:prSet presAssocID="{54A86124-3ECE-5C44-AB78-72947166387E}" presName="hierRoot4" presStyleCnt="0"/>
      <dgm:spPr/>
    </dgm:pt>
    <dgm:pt modelId="{80174B29-955C-CC49-9517-7AE4D1562436}" type="pres">
      <dgm:prSet presAssocID="{54A86124-3ECE-5C44-AB78-72947166387E}" presName="composite4" presStyleCnt="0"/>
      <dgm:spPr/>
    </dgm:pt>
    <dgm:pt modelId="{010C2457-3415-2E4C-9AFB-24EFE7EE5034}" type="pres">
      <dgm:prSet presAssocID="{54A86124-3ECE-5C44-AB78-72947166387E}" presName="background4" presStyleLbl="node4" presStyleIdx="18" presStyleCnt="23"/>
      <dgm:spPr/>
    </dgm:pt>
    <dgm:pt modelId="{DA32121B-EA4F-E843-8B95-EFE81D6F3E1D}" type="pres">
      <dgm:prSet presAssocID="{54A86124-3ECE-5C44-AB78-72947166387E}" presName="text4" presStyleLbl="fgAcc4" presStyleIdx="18" presStyleCnt="23">
        <dgm:presLayoutVars>
          <dgm:chPref val="3"/>
        </dgm:presLayoutVars>
      </dgm:prSet>
      <dgm:spPr/>
      <dgm:t>
        <a:bodyPr/>
        <a:lstStyle/>
        <a:p>
          <a:endParaRPr lang="en-US"/>
        </a:p>
      </dgm:t>
    </dgm:pt>
    <dgm:pt modelId="{DA4E6CF1-34AD-E440-B379-346D50A6B463}" type="pres">
      <dgm:prSet presAssocID="{54A86124-3ECE-5C44-AB78-72947166387E}" presName="hierChild5" presStyleCnt="0"/>
      <dgm:spPr/>
    </dgm:pt>
    <dgm:pt modelId="{9F7712C6-08F9-4B48-84E2-B74EAA68C245}" type="pres">
      <dgm:prSet presAssocID="{303B8E5E-86A0-7747-8DA5-6E5458A4FB4F}" presName="Name17" presStyleLbl="parChTrans1D3" presStyleIdx="2" presStyleCnt="3"/>
      <dgm:spPr/>
      <dgm:t>
        <a:bodyPr/>
        <a:lstStyle/>
        <a:p>
          <a:endParaRPr lang="en-US"/>
        </a:p>
      </dgm:t>
    </dgm:pt>
    <dgm:pt modelId="{BEB3C365-3733-1C46-91CE-04973CD4519B}" type="pres">
      <dgm:prSet presAssocID="{458A354D-0583-4144-8948-105B62B88535}" presName="hierRoot3" presStyleCnt="0"/>
      <dgm:spPr/>
    </dgm:pt>
    <dgm:pt modelId="{7082B32B-84CA-6843-A2FA-3DF71FC76CE4}" type="pres">
      <dgm:prSet presAssocID="{458A354D-0583-4144-8948-105B62B88535}" presName="composite3" presStyleCnt="0"/>
      <dgm:spPr/>
    </dgm:pt>
    <dgm:pt modelId="{68FB325A-3F6B-E348-9FBC-75B9545F0906}" type="pres">
      <dgm:prSet presAssocID="{458A354D-0583-4144-8948-105B62B88535}" presName="background3" presStyleLbl="node3" presStyleIdx="2" presStyleCnt="3"/>
      <dgm:spPr/>
    </dgm:pt>
    <dgm:pt modelId="{376FAB02-2D88-724C-BD4D-D0F027D4CE18}" type="pres">
      <dgm:prSet presAssocID="{458A354D-0583-4144-8948-105B62B88535}" presName="text3" presStyleLbl="fgAcc3" presStyleIdx="2" presStyleCnt="3">
        <dgm:presLayoutVars>
          <dgm:chPref val="3"/>
        </dgm:presLayoutVars>
      </dgm:prSet>
      <dgm:spPr/>
      <dgm:t>
        <a:bodyPr/>
        <a:lstStyle/>
        <a:p>
          <a:endParaRPr lang="en-US"/>
        </a:p>
      </dgm:t>
    </dgm:pt>
    <dgm:pt modelId="{AFAADD78-18C6-7245-B8E2-0A584FB37957}" type="pres">
      <dgm:prSet presAssocID="{458A354D-0583-4144-8948-105B62B88535}" presName="hierChild4" presStyleCnt="0"/>
      <dgm:spPr/>
    </dgm:pt>
    <dgm:pt modelId="{AD3FFF2F-6B51-AF4A-AB73-903B3C3CCCA1}" type="pres">
      <dgm:prSet presAssocID="{54646245-D341-B949-B8ED-B5E6CF33FC30}" presName="Name23" presStyleLbl="parChTrans1D4" presStyleIdx="19" presStyleCnt="23"/>
      <dgm:spPr/>
      <dgm:t>
        <a:bodyPr/>
        <a:lstStyle/>
        <a:p>
          <a:endParaRPr lang="en-US"/>
        </a:p>
      </dgm:t>
    </dgm:pt>
    <dgm:pt modelId="{CD156389-C268-9E44-ACB4-BC4DD2D94D65}" type="pres">
      <dgm:prSet presAssocID="{506AD9AF-1885-1340-8134-ED201D53DA02}" presName="hierRoot4" presStyleCnt="0"/>
      <dgm:spPr/>
    </dgm:pt>
    <dgm:pt modelId="{176D97EA-A536-3C43-BA85-28D1B67A5DEA}" type="pres">
      <dgm:prSet presAssocID="{506AD9AF-1885-1340-8134-ED201D53DA02}" presName="composite4" presStyleCnt="0"/>
      <dgm:spPr/>
    </dgm:pt>
    <dgm:pt modelId="{5A2C1499-0767-134C-B493-46E95A3FD5F8}" type="pres">
      <dgm:prSet presAssocID="{506AD9AF-1885-1340-8134-ED201D53DA02}" presName="background4" presStyleLbl="node4" presStyleIdx="19" presStyleCnt="23"/>
      <dgm:spPr/>
    </dgm:pt>
    <dgm:pt modelId="{6B3679A0-56B0-044B-9758-A44F5F9979A2}" type="pres">
      <dgm:prSet presAssocID="{506AD9AF-1885-1340-8134-ED201D53DA02}" presName="text4" presStyleLbl="fgAcc4" presStyleIdx="19" presStyleCnt="23">
        <dgm:presLayoutVars>
          <dgm:chPref val="3"/>
        </dgm:presLayoutVars>
      </dgm:prSet>
      <dgm:spPr/>
      <dgm:t>
        <a:bodyPr/>
        <a:lstStyle/>
        <a:p>
          <a:endParaRPr lang="en-US"/>
        </a:p>
      </dgm:t>
    </dgm:pt>
    <dgm:pt modelId="{A41E621B-0883-9344-9A4E-344A065F87D0}" type="pres">
      <dgm:prSet presAssocID="{506AD9AF-1885-1340-8134-ED201D53DA02}" presName="hierChild5" presStyleCnt="0"/>
      <dgm:spPr/>
    </dgm:pt>
    <dgm:pt modelId="{3CBDE771-8F56-3C48-811A-67A777BFE577}" type="pres">
      <dgm:prSet presAssocID="{C89070F9-395A-2045-A303-DBC5996ECFE1}" presName="Name23" presStyleLbl="parChTrans1D4" presStyleIdx="20" presStyleCnt="23"/>
      <dgm:spPr/>
      <dgm:t>
        <a:bodyPr/>
        <a:lstStyle/>
        <a:p>
          <a:endParaRPr lang="en-US"/>
        </a:p>
      </dgm:t>
    </dgm:pt>
    <dgm:pt modelId="{273BD6A0-135B-5A41-AF2D-B2D3661B3F51}" type="pres">
      <dgm:prSet presAssocID="{6B23FAFB-7BAF-5246-8C0D-A16A4A6049BA}" presName="hierRoot4" presStyleCnt="0"/>
      <dgm:spPr/>
    </dgm:pt>
    <dgm:pt modelId="{16C6572D-E036-404E-AC83-CD186CDCA67D}" type="pres">
      <dgm:prSet presAssocID="{6B23FAFB-7BAF-5246-8C0D-A16A4A6049BA}" presName="composite4" presStyleCnt="0"/>
      <dgm:spPr/>
    </dgm:pt>
    <dgm:pt modelId="{512F3FF9-7E38-C142-BEAB-2ED049C46850}" type="pres">
      <dgm:prSet presAssocID="{6B23FAFB-7BAF-5246-8C0D-A16A4A6049BA}" presName="background4" presStyleLbl="node4" presStyleIdx="20" presStyleCnt="23"/>
      <dgm:spPr/>
    </dgm:pt>
    <dgm:pt modelId="{EDEB1C70-4FE5-AA47-A82A-51DB412D401E}" type="pres">
      <dgm:prSet presAssocID="{6B23FAFB-7BAF-5246-8C0D-A16A4A6049BA}" presName="text4" presStyleLbl="fgAcc4" presStyleIdx="20" presStyleCnt="23">
        <dgm:presLayoutVars>
          <dgm:chPref val="3"/>
        </dgm:presLayoutVars>
      </dgm:prSet>
      <dgm:spPr/>
      <dgm:t>
        <a:bodyPr/>
        <a:lstStyle/>
        <a:p>
          <a:endParaRPr lang="en-US"/>
        </a:p>
      </dgm:t>
    </dgm:pt>
    <dgm:pt modelId="{1A6A7BD9-69B1-3C4E-9163-23129D332400}" type="pres">
      <dgm:prSet presAssocID="{6B23FAFB-7BAF-5246-8C0D-A16A4A6049BA}" presName="hierChild5" presStyleCnt="0"/>
      <dgm:spPr/>
    </dgm:pt>
    <dgm:pt modelId="{E42BD201-0F7A-1846-BDB9-F0F91193CE4C}" type="pres">
      <dgm:prSet presAssocID="{93819FFF-D68C-0E41-817F-122D5E359C97}" presName="Name23" presStyleLbl="parChTrans1D4" presStyleIdx="21" presStyleCnt="23"/>
      <dgm:spPr/>
      <dgm:t>
        <a:bodyPr/>
        <a:lstStyle/>
        <a:p>
          <a:endParaRPr lang="en-US"/>
        </a:p>
      </dgm:t>
    </dgm:pt>
    <dgm:pt modelId="{1FF10E6E-080C-D148-B5E4-C0E3FD1BAB79}" type="pres">
      <dgm:prSet presAssocID="{11CD7E9E-7C72-034B-9C4C-77B853CA0F34}" presName="hierRoot4" presStyleCnt="0"/>
      <dgm:spPr/>
    </dgm:pt>
    <dgm:pt modelId="{72D9F838-8637-444B-8EF7-F8118BA4D411}" type="pres">
      <dgm:prSet presAssocID="{11CD7E9E-7C72-034B-9C4C-77B853CA0F34}" presName="composite4" presStyleCnt="0"/>
      <dgm:spPr/>
    </dgm:pt>
    <dgm:pt modelId="{FED53FBA-B97A-5449-84EA-00CF62F7A15B}" type="pres">
      <dgm:prSet presAssocID="{11CD7E9E-7C72-034B-9C4C-77B853CA0F34}" presName="background4" presStyleLbl="node4" presStyleIdx="21" presStyleCnt="23"/>
      <dgm:spPr/>
    </dgm:pt>
    <dgm:pt modelId="{9ED0A673-9EA6-7D42-A88E-5AA0783203C6}" type="pres">
      <dgm:prSet presAssocID="{11CD7E9E-7C72-034B-9C4C-77B853CA0F34}" presName="text4" presStyleLbl="fgAcc4" presStyleIdx="21" presStyleCnt="23">
        <dgm:presLayoutVars>
          <dgm:chPref val="3"/>
        </dgm:presLayoutVars>
      </dgm:prSet>
      <dgm:spPr/>
      <dgm:t>
        <a:bodyPr/>
        <a:lstStyle/>
        <a:p>
          <a:endParaRPr lang="en-US"/>
        </a:p>
      </dgm:t>
    </dgm:pt>
    <dgm:pt modelId="{7CEAFDB3-1640-6943-BA2C-072B4193E905}" type="pres">
      <dgm:prSet presAssocID="{11CD7E9E-7C72-034B-9C4C-77B853CA0F34}" presName="hierChild5" presStyleCnt="0"/>
      <dgm:spPr/>
    </dgm:pt>
    <dgm:pt modelId="{E1883D82-18C2-4949-A771-0EBF108BDF3F}" type="pres">
      <dgm:prSet presAssocID="{A207DA0F-F568-844F-B926-F1500905B810}" presName="Name23" presStyleLbl="parChTrans1D4" presStyleIdx="22" presStyleCnt="23"/>
      <dgm:spPr/>
      <dgm:t>
        <a:bodyPr/>
        <a:lstStyle/>
        <a:p>
          <a:endParaRPr lang="en-US"/>
        </a:p>
      </dgm:t>
    </dgm:pt>
    <dgm:pt modelId="{A34B31CC-ECC8-5D47-99C6-CA4F3BB80FA2}" type="pres">
      <dgm:prSet presAssocID="{E1D674BF-E765-7E48-84BE-976D40EFE0F2}" presName="hierRoot4" presStyleCnt="0"/>
      <dgm:spPr/>
    </dgm:pt>
    <dgm:pt modelId="{77919C79-1177-FD46-BBE0-EB4C86E958F2}" type="pres">
      <dgm:prSet presAssocID="{E1D674BF-E765-7E48-84BE-976D40EFE0F2}" presName="composite4" presStyleCnt="0"/>
      <dgm:spPr/>
    </dgm:pt>
    <dgm:pt modelId="{31751CC0-40E7-9049-820E-F362FB897E49}" type="pres">
      <dgm:prSet presAssocID="{E1D674BF-E765-7E48-84BE-976D40EFE0F2}" presName="background4" presStyleLbl="node4" presStyleIdx="22" presStyleCnt="23"/>
      <dgm:spPr/>
    </dgm:pt>
    <dgm:pt modelId="{9AAD32A6-F071-CE49-89D5-26B4317FAA8E}" type="pres">
      <dgm:prSet presAssocID="{E1D674BF-E765-7E48-84BE-976D40EFE0F2}" presName="text4" presStyleLbl="fgAcc4" presStyleIdx="22" presStyleCnt="23">
        <dgm:presLayoutVars>
          <dgm:chPref val="3"/>
        </dgm:presLayoutVars>
      </dgm:prSet>
      <dgm:spPr/>
      <dgm:t>
        <a:bodyPr/>
        <a:lstStyle/>
        <a:p>
          <a:endParaRPr lang="en-US"/>
        </a:p>
      </dgm:t>
    </dgm:pt>
    <dgm:pt modelId="{3D176AA8-14D5-C94B-AFE8-9396E200CDCD}" type="pres">
      <dgm:prSet presAssocID="{E1D674BF-E765-7E48-84BE-976D40EFE0F2}" presName="hierChild5" presStyleCnt="0"/>
      <dgm:spPr/>
    </dgm:pt>
  </dgm:ptLst>
  <dgm:cxnLst>
    <dgm:cxn modelId="{88185D20-D291-E648-9B84-521335F0AFCB}" srcId="{0B462BE1-A379-6245-AD8F-F10FD4B31998}" destId="{0A5A39D2-C024-D249-A53D-0114EC293BD6}" srcOrd="1" destOrd="0" parTransId="{2DD49C9F-88B3-404E-8B9B-824CBDDE8DFA}" sibTransId="{92B8FC36-9746-7249-BA45-50357DCA9C5A}"/>
    <dgm:cxn modelId="{39CD87CD-7D52-B94C-B21F-B8F9AA4CA3FA}" srcId="{EB807657-1E7A-A147-A401-873AAD35182F}" destId="{91D9F0D0-E4CF-2D48-B101-51892ECE1701}" srcOrd="0" destOrd="0" parTransId="{9CF4C73D-5AB3-D94A-8E4C-CF09AF55A75C}" sibTransId="{B0F54B6E-F1B5-AF40-9511-1F0BB10B9B76}"/>
    <dgm:cxn modelId="{7B64B4A7-0BA9-744C-A7A2-126FC35CD1EA}" type="presOf" srcId="{BFD4AD48-D688-C041-9CA3-CCFF19DCCDE9}" destId="{4D203E00-9AEF-5841-8AB7-3D322CC00120}" srcOrd="0" destOrd="0" presId="urn:microsoft.com/office/officeart/2005/8/layout/hierarchy1"/>
    <dgm:cxn modelId="{5505495B-69DF-4C4C-8285-01499233837E}" type="presOf" srcId="{11CD7E9E-7C72-034B-9C4C-77B853CA0F34}" destId="{9ED0A673-9EA6-7D42-A88E-5AA0783203C6}" srcOrd="0" destOrd="0" presId="urn:microsoft.com/office/officeart/2005/8/layout/hierarchy1"/>
    <dgm:cxn modelId="{97DBDEF0-0868-AF42-AE68-DB1811EAA7C7}" type="presOf" srcId="{794D827A-2A8B-DD49-A8B1-9054F6A595E2}" destId="{AF847CF5-5AEC-1E44-9F29-F9E6515AAADE}" srcOrd="0" destOrd="0" presId="urn:microsoft.com/office/officeart/2005/8/layout/hierarchy1"/>
    <dgm:cxn modelId="{54CF2265-FE41-8049-ABED-57B6D24663B1}" srcId="{4506FFD5-F011-2643-BA74-69B9A4AB1E46}" destId="{C8417BBA-27E3-2E48-9E3C-0308895E70F6}" srcOrd="0" destOrd="0" parTransId="{AC8F7B63-81BB-1F41-ADA3-BA01298131AF}" sibTransId="{8B39FDE9-2474-2743-AA14-9DF648C3F9C4}"/>
    <dgm:cxn modelId="{C2C99024-1E1E-4B49-8E1E-742BF4B31F03}" srcId="{458A354D-0583-4144-8948-105B62B88535}" destId="{6B23FAFB-7BAF-5246-8C0D-A16A4A6049BA}" srcOrd="1" destOrd="0" parTransId="{C89070F9-395A-2045-A303-DBC5996ECFE1}" sibTransId="{E25D41F0-6FDC-FE48-BE69-17BCE2F2F246}"/>
    <dgm:cxn modelId="{9652AE87-1C61-1249-92AC-DE9FDA598938}" type="presOf" srcId="{FD2DC9C9-CCF8-6D47-A8AF-7E8440F609A2}" destId="{041119CE-361E-6D4A-9899-F5AB6B6B890A}" srcOrd="0" destOrd="0" presId="urn:microsoft.com/office/officeart/2005/8/layout/hierarchy1"/>
    <dgm:cxn modelId="{A5AA4983-18B1-324C-976A-6DAE0DEFBA0A}" srcId="{0B462BE1-A379-6245-AD8F-F10FD4B31998}" destId="{4506FFD5-F011-2643-BA74-69B9A4AB1E46}" srcOrd="2" destOrd="0" parTransId="{1EBD3E84-6E47-1845-90EA-1AE7D472BE5A}" sibTransId="{0B5FBE7D-28A0-134C-B2F7-F8F181B1CB42}"/>
    <dgm:cxn modelId="{E1CFAE05-14CA-EF44-B4C4-4AB5B39A5CC0}" srcId="{BA7BA35D-9D12-044C-98F4-9F2585E6C4D0}" destId="{3F62D1AF-EC47-EC4E-832D-94DE2BE98B6C}" srcOrd="2" destOrd="0" parTransId="{466DC4F5-965B-9D43-BF6E-7AD89DEAA275}" sibTransId="{1C4AB147-A95A-C34E-8937-ED7334BB9A0C}"/>
    <dgm:cxn modelId="{9CE42089-D96F-144B-82F9-2EC91A57A2E3}" srcId="{4506FFD5-F011-2643-BA74-69B9A4AB1E46}" destId="{65A42FF3-1782-2740-AB61-F5BA3B70CB28}" srcOrd="1" destOrd="0" parTransId="{C89B0D98-01DD-484C-B54C-F9D00A6E7E4D}" sibTransId="{00E4BF21-EE1E-F342-AE98-5C303971FF96}"/>
    <dgm:cxn modelId="{482A4645-5F7A-274F-A4AB-9520704687D6}" type="presOf" srcId="{65A42FF3-1782-2740-AB61-F5BA3B70CB28}" destId="{038960CE-3E76-AF48-8AE9-FA6E04D38AC3}" srcOrd="0" destOrd="0" presId="urn:microsoft.com/office/officeart/2005/8/layout/hierarchy1"/>
    <dgm:cxn modelId="{BD9DFB55-243F-2141-95A0-148B51311AD6}" type="presOf" srcId="{4BD28DB6-5285-2044-B998-F61C438E047B}" destId="{07B98606-11FE-CA48-8422-B298E5C42992}" srcOrd="0" destOrd="0" presId="urn:microsoft.com/office/officeart/2005/8/layout/hierarchy1"/>
    <dgm:cxn modelId="{542F14C2-16E5-684A-A253-12B3CAA803A8}" type="presOf" srcId="{E5F9A2C3-03B9-A845-AA7C-0E8EBD53E3DE}" destId="{C70A0475-1CC2-774A-8C22-A2353C6785EC}" srcOrd="0" destOrd="0" presId="urn:microsoft.com/office/officeart/2005/8/layout/hierarchy1"/>
    <dgm:cxn modelId="{1EA003D4-DC33-A945-BD1A-853B00D6C682}" type="presOf" srcId="{303B8E5E-86A0-7747-8DA5-6E5458A4FB4F}" destId="{9F7712C6-08F9-4B48-84E2-B74EAA68C245}" srcOrd="0" destOrd="0" presId="urn:microsoft.com/office/officeart/2005/8/layout/hierarchy1"/>
    <dgm:cxn modelId="{5E1EEDB7-0C40-564B-8A5A-7A07BCE7AFC6}" type="presOf" srcId="{6BC94220-1974-824C-8ECA-AE3D20E6BEEC}" destId="{16A8F599-108A-BE46-B875-19727052ADF8}" srcOrd="0" destOrd="0" presId="urn:microsoft.com/office/officeart/2005/8/layout/hierarchy1"/>
    <dgm:cxn modelId="{1CF982B5-4D1F-1A4E-9317-4585E7318313}" type="presOf" srcId="{506AD9AF-1885-1340-8134-ED201D53DA02}" destId="{6B3679A0-56B0-044B-9758-A44F5F9979A2}" srcOrd="0" destOrd="0" presId="urn:microsoft.com/office/officeart/2005/8/layout/hierarchy1"/>
    <dgm:cxn modelId="{209C6646-54B9-5949-943C-23A2224C6F0B}" type="presOf" srcId="{A6C7CB65-7D85-9640-ADDB-D6EB06AF9392}" destId="{3BE7867F-A653-5C44-8CF1-7ED8AEFFAC8D}" srcOrd="0" destOrd="0" presId="urn:microsoft.com/office/officeart/2005/8/layout/hierarchy1"/>
    <dgm:cxn modelId="{DB9E5D50-62D3-DD42-A6C6-3676BDCB947F}" type="presOf" srcId="{54A86124-3ECE-5C44-AB78-72947166387E}" destId="{DA32121B-EA4F-E843-8B95-EFE81D6F3E1D}" srcOrd="0" destOrd="0" presId="urn:microsoft.com/office/officeart/2005/8/layout/hierarchy1"/>
    <dgm:cxn modelId="{0B63486A-1E23-894D-B986-F1912A80CD0C}" type="presOf" srcId="{B15DE8A6-FA76-B940-8435-E709EF4FA037}" destId="{134BD606-4D56-8646-8943-99D7AFE43949}" srcOrd="0" destOrd="0" presId="urn:microsoft.com/office/officeart/2005/8/layout/hierarchy1"/>
    <dgm:cxn modelId="{6CA9E017-E385-2241-A52E-7D3ABB521DA8}" srcId="{B15DE8A6-FA76-B940-8435-E709EF4FA037}" destId="{55BF1963-16BE-D94D-8987-C22786904932}" srcOrd="0" destOrd="0" parTransId="{FF966559-30A4-E643-A3BE-EA8623C4ED98}" sibTransId="{166F1976-D362-C740-B7C5-460143F42112}"/>
    <dgm:cxn modelId="{94DF5E97-CD6F-F640-85B3-6895746759B0}" type="presOf" srcId="{C8417BBA-27E3-2E48-9E3C-0308895E70F6}" destId="{E79F91F4-191E-7945-9998-14AA60B617D3}" srcOrd="0" destOrd="0" presId="urn:microsoft.com/office/officeart/2005/8/layout/hierarchy1"/>
    <dgm:cxn modelId="{34AE0B7E-CB9A-2345-AF90-9695D287D7C8}" srcId="{6B23FAFB-7BAF-5246-8C0D-A16A4A6049BA}" destId="{11CD7E9E-7C72-034B-9C4C-77B853CA0F34}" srcOrd="0" destOrd="0" parTransId="{93819FFF-D68C-0E41-817F-122D5E359C97}" sibTransId="{CAFD826A-F556-4441-8F28-5CEBC5C60816}"/>
    <dgm:cxn modelId="{7ECEF5D6-62C9-E845-A22B-7544676ECD68}" type="presOf" srcId="{3F62D1AF-EC47-EC4E-832D-94DE2BE98B6C}" destId="{212EEA2B-6397-6142-B487-01466663B327}" srcOrd="0" destOrd="0" presId="urn:microsoft.com/office/officeart/2005/8/layout/hierarchy1"/>
    <dgm:cxn modelId="{AE1C2329-A815-EF46-B552-82FEAED460F9}" type="presOf" srcId="{87A4BA89-2DBF-3042-9C8D-BB013EF6202F}" destId="{D9422978-523E-CD4F-8CF7-3BB498BE958D}" srcOrd="0" destOrd="0" presId="urn:microsoft.com/office/officeart/2005/8/layout/hierarchy1"/>
    <dgm:cxn modelId="{CA18E5DD-FFD2-F344-914E-91C21F81093F}" srcId="{F1A7AA71-730A-964D-B179-4479FBA5B8B2}" destId="{E113F167-9579-4644-A4F7-939B86BCAA24}" srcOrd="0" destOrd="0" parTransId="{96FDEEE7-0546-5945-958A-39B1CBD1EA1C}" sibTransId="{0C73FC26-3D13-1C44-962A-9B62C8009D92}"/>
    <dgm:cxn modelId="{3CCB66BF-9EB9-B345-880B-991BE5F71F94}" type="presOf" srcId="{C89070F9-395A-2045-A303-DBC5996ECFE1}" destId="{3CBDE771-8F56-3C48-811A-67A777BFE577}" srcOrd="0" destOrd="0" presId="urn:microsoft.com/office/officeart/2005/8/layout/hierarchy1"/>
    <dgm:cxn modelId="{28CED744-CC1B-9745-953C-6CFCC64A8C43}" type="presOf" srcId="{F1A7AA71-730A-964D-B179-4479FBA5B8B2}" destId="{82FE6A12-C625-6148-8699-AE7449FC7055}" srcOrd="0" destOrd="0" presId="urn:microsoft.com/office/officeart/2005/8/layout/hierarchy1"/>
    <dgm:cxn modelId="{88674C45-5702-3B40-B141-BE06CB6AE7C8}" type="presOf" srcId="{0B462BE1-A379-6245-AD8F-F10FD4B31998}" destId="{ECB6BE80-AC9C-CE49-B2E7-28D9FEBE13B5}" srcOrd="0" destOrd="0" presId="urn:microsoft.com/office/officeart/2005/8/layout/hierarchy1"/>
    <dgm:cxn modelId="{F7566537-F7CD-4147-B7F4-D8A73622FD23}" srcId="{B15DE8A6-FA76-B940-8435-E709EF4FA037}" destId="{92AA3F81-FC54-934C-9AC8-4D4970F2CB69}" srcOrd="2" destOrd="0" parTransId="{739AA743-EECA-9542-80FC-116372C2D689}" sibTransId="{62DB5E9E-DB62-7547-A2A6-06AEFE16208F}"/>
    <dgm:cxn modelId="{D7223FC0-31A5-9749-8CF2-BF7E4C4FCCE8}" srcId="{D02EA594-81C3-314D-A1B7-696AA8C9648F}" destId="{2E638D7C-1ED2-204B-A129-857DACDB62BF}" srcOrd="0" destOrd="0" parTransId="{873461D6-0908-B542-9EC4-C2B89C986A7F}" sibTransId="{2A28C48B-D63A-0846-876D-8CDA0FD8AD76}"/>
    <dgm:cxn modelId="{33E24809-A566-9843-99D9-D2A15290C74A}" type="presOf" srcId="{1B786CD7-45FA-9D41-8B22-B601F7A827A2}" destId="{88AF7F94-DB0A-F044-8776-B2A20A2D2686}" srcOrd="0" destOrd="0" presId="urn:microsoft.com/office/officeart/2005/8/layout/hierarchy1"/>
    <dgm:cxn modelId="{7A0D144E-7AA9-DD4C-AAC4-948D3BC14800}" type="presOf" srcId="{466DC4F5-965B-9D43-BF6E-7AD89DEAA275}" destId="{2CFBB32C-E833-D742-A141-2B3CC88B5EB3}" srcOrd="0" destOrd="0" presId="urn:microsoft.com/office/officeart/2005/8/layout/hierarchy1"/>
    <dgm:cxn modelId="{3F1E3BA0-E253-2B4F-9726-BFA367794064}" type="presOf" srcId="{BD1A5A5E-C0A8-E047-B660-2F61D7C41CA2}" destId="{627D7303-76E1-1B4B-9836-288B5133FB0E}" srcOrd="0" destOrd="0" presId="urn:microsoft.com/office/officeart/2005/8/layout/hierarchy1"/>
    <dgm:cxn modelId="{F7430087-DED8-6540-9E8C-9BE1BF9F16AE}" type="presOf" srcId="{AC8F7B63-81BB-1F41-ADA3-BA01298131AF}" destId="{469F2AD0-F93D-064F-A722-5183C63907B9}" srcOrd="0" destOrd="0" presId="urn:microsoft.com/office/officeart/2005/8/layout/hierarchy1"/>
    <dgm:cxn modelId="{3541F16E-046F-8148-A468-EC10736A4609}" type="presOf" srcId="{EB807657-1E7A-A147-A401-873AAD35182F}" destId="{CDEA9509-B499-424C-96B8-734413276BCE}" srcOrd="0" destOrd="0" presId="urn:microsoft.com/office/officeart/2005/8/layout/hierarchy1"/>
    <dgm:cxn modelId="{B22ABEEA-3CC8-A442-9F21-102B16C48ABF}" type="presOf" srcId="{458A354D-0583-4144-8948-105B62B88535}" destId="{376FAB02-2D88-724C-BD4D-D0F027D4CE18}" srcOrd="0" destOrd="0" presId="urn:microsoft.com/office/officeart/2005/8/layout/hierarchy1"/>
    <dgm:cxn modelId="{66DD2EBE-8129-C94F-B27B-9FA823D16DCA}" type="presOf" srcId="{E1D674BF-E765-7E48-84BE-976D40EFE0F2}" destId="{9AAD32A6-F071-CE49-89D5-26B4317FAA8E}" srcOrd="0" destOrd="0" presId="urn:microsoft.com/office/officeart/2005/8/layout/hierarchy1"/>
    <dgm:cxn modelId="{A57D682D-6C74-5E48-9CFC-C3B4DF80534A}" type="presOf" srcId="{91D9F0D0-E4CF-2D48-B101-51892ECE1701}" destId="{68894350-48FC-5C49-9AC0-0472B7D6BED6}" srcOrd="0" destOrd="0" presId="urn:microsoft.com/office/officeart/2005/8/layout/hierarchy1"/>
    <dgm:cxn modelId="{5269D57C-FB30-2A4D-9E22-557D87B02650}" type="presOf" srcId="{54646245-D341-B949-B8ED-B5E6CF33FC30}" destId="{AD3FFF2F-6B51-AF4A-AB73-903B3C3CCCA1}" srcOrd="0" destOrd="0" presId="urn:microsoft.com/office/officeart/2005/8/layout/hierarchy1"/>
    <dgm:cxn modelId="{96BFD385-87CD-5E4D-B334-9C9AC2BDFB89}" type="presOf" srcId="{739AA743-EECA-9542-80FC-116372C2D689}" destId="{5A5C0017-0142-0048-BAE0-542180AA7BF5}" srcOrd="0" destOrd="0" presId="urn:microsoft.com/office/officeart/2005/8/layout/hierarchy1"/>
    <dgm:cxn modelId="{DE338E8E-1A8F-984D-B254-C443B39DCD53}" srcId="{0B462BE1-A379-6245-AD8F-F10FD4B31998}" destId="{B15DE8A6-FA76-B940-8435-E709EF4FA037}" srcOrd="0" destOrd="0" parTransId="{794D827A-2A8B-DD49-A8B1-9054F6A595E2}" sibTransId="{97A35451-4483-224F-B706-1A64C79445F4}"/>
    <dgm:cxn modelId="{CE0BE44A-B342-3049-8B62-7F92BF95A581}" srcId="{EB807657-1E7A-A147-A401-873AAD35182F}" destId="{54A86124-3ECE-5C44-AB78-72947166387E}" srcOrd="1" destOrd="0" parTransId="{ABDA1E80-6BE1-F044-A790-F4F7A2939337}" sibTransId="{848894E1-FC57-174D-9177-DCCE5C6DE8E6}"/>
    <dgm:cxn modelId="{81EF89DB-674B-FB40-96CF-39851EC60707}" type="presOf" srcId="{2DD49C9F-88B3-404E-8B9B-824CBDDE8DFA}" destId="{B742E75B-0E40-B34D-A3EA-A53ACCBA4C9D}" srcOrd="0" destOrd="0" presId="urn:microsoft.com/office/officeart/2005/8/layout/hierarchy1"/>
    <dgm:cxn modelId="{892C59AE-EA84-D141-9501-3E63A0CC3F0C}" srcId="{BA7BA35D-9D12-044C-98F4-9F2585E6C4D0}" destId="{4BD28DB6-5285-2044-B998-F61C438E047B}" srcOrd="0" destOrd="0" parTransId="{F30BCE99-25A9-8E46-B5AA-904BFC78A896}" sibTransId="{E31CBC77-10E9-1340-A789-6DAD76132E64}"/>
    <dgm:cxn modelId="{D8D2FC3E-7759-544A-9F09-7858E145F812}" type="presOf" srcId="{C89B0D98-01DD-484C-B54C-F9D00A6E7E4D}" destId="{DA8A0597-7B4B-D94A-B4DB-F7AECFFB7C06}" srcOrd="0" destOrd="0" presId="urn:microsoft.com/office/officeart/2005/8/layout/hierarchy1"/>
    <dgm:cxn modelId="{C5C07A8A-CDFB-7242-B41C-5662FB2B92CA}" srcId="{A4489D2D-3502-E744-B42A-C544FB6E1DD6}" destId="{BA7BA35D-9D12-044C-98F4-9F2585E6C4D0}" srcOrd="0" destOrd="0" parTransId="{FA3EC8C9-D05F-6741-9BD7-9CB8F0F0F1AF}" sibTransId="{C4EAB1A8-B25F-D345-BEA1-CF7848F9F1ED}"/>
    <dgm:cxn modelId="{18F880F5-7031-8B4B-BCED-3645D9B76C32}" type="presOf" srcId="{4506FFD5-F011-2643-BA74-69B9A4AB1E46}" destId="{805252F1-943A-1D4B-9D69-86B092705AB5}" srcOrd="0" destOrd="0" presId="urn:microsoft.com/office/officeart/2005/8/layout/hierarchy1"/>
    <dgm:cxn modelId="{DE3C1B50-6D4A-5949-BD30-991C35B39B64}" type="presOf" srcId="{0A5A39D2-C024-D249-A53D-0114EC293BD6}" destId="{4F751C59-FDD2-E64C-BCA6-3266CEAE30D8}" srcOrd="0" destOrd="0" presId="urn:microsoft.com/office/officeart/2005/8/layout/hierarchy1"/>
    <dgm:cxn modelId="{22C4B8B1-751B-5C43-B9EE-465308031F49}" srcId="{FD2DC9C9-CCF8-6D47-A8AF-7E8440F609A2}" destId="{F1A7AA71-730A-964D-B179-4479FBA5B8B2}" srcOrd="0" destOrd="0" parTransId="{080C6F01-D450-4E47-83F4-1A2B70DB6F40}" sibTransId="{16285F2C-3895-2A47-908C-56F6A7357EC0}"/>
    <dgm:cxn modelId="{0655B642-A9B3-5844-8F25-09291604ABE0}" srcId="{6B23FAFB-7BAF-5246-8C0D-A16A4A6049BA}" destId="{E1D674BF-E765-7E48-84BE-976D40EFE0F2}" srcOrd="1" destOrd="0" parTransId="{A207DA0F-F568-844F-B926-F1500905B810}" sibTransId="{CBBFA961-7519-0A4A-8F71-430C73601F9B}"/>
    <dgm:cxn modelId="{F9FF8539-5F3D-4942-B386-B020829D5CA2}" type="presOf" srcId="{E113F167-9579-4644-A4F7-939B86BCAA24}" destId="{63B7A575-DE96-8645-AC5B-E6A39AF5DC6C}" srcOrd="0" destOrd="0" presId="urn:microsoft.com/office/officeart/2005/8/layout/hierarchy1"/>
    <dgm:cxn modelId="{5F91895E-BA33-7746-8944-50ED9F37FF94}" srcId="{0B462BE1-A379-6245-AD8F-F10FD4B31998}" destId="{BFD4AD48-D688-C041-9CA3-CCFF19DCCDE9}" srcOrd="3" destOrd="0" parTransId="{9B24C5E4-AE89-D242-9374-0F868E1C5E47}" sibTransId="{A8E490DA-DFEB-4744-B8F5-EE4032AB8FFB}"/>
    <dgm:cxn modelId="{0DEBB27E-5C34-B449-B9AF-D1F39DD9093A}" type="presOf" srcId="{9B24C5E4-AE89-D242-9374-0F868E1C5E47}" destId="{8E668B2D-2CA2-A048-BDDE-80F9C5D3718A}" srcOrd="0" destOrd="0" presId="urn:microsoft.com/office/officeart/2005/8/layout/hierarchy1"/>
    <dgm:cxn modelId="{577BB8FC-AEEA-F64F-B388-3730DA889033}" type="presOf" srcId="{55BF1963-16BE-D94D-8987-C22786904932}" destId="{C49EAA8B-EE1F-CA48-8B03-2A7021ADE29D}" srcOrd="0" destOrd="0" presId="urn:microsoft.com/office/officeart/2005/8/layout/hierarchy1"/>
    <dgm:cxn modelId="{5EABE418-B5B6-9540-A7FC-FA4C0024E872}" srcId="{F1A7AA71-730A-964D-B179-4479FBA5B8B2}" destId="{D02EA594-81C3-314D-A1B7-696AA8C9648F}" srcOrd="1" destOrd="0" parTransId="{1B786CD7-45FA-9D41-8B22-B601F7A827A2}" sibTransId="{CE02B9B0-451E-9347-A96B-72E96EEB988F}"/>
    <dgm:cxn modelId="{D879882C-75F2-2B42-B590-C66F6E8DE4AA}" type="presOf" srcId="{FA3EC8C9-D05F-6741-9BD7-9CB8F0F0F1AF}" destId="{8902A2A4-59E8-7449-A3E0-DEF28AE2293D}" srcOrd="0" destOrd="0" presId="urn:microsoft.com/office/officeart/2005/8/layout/hierarchy1"/>
    <dgm:cxn modelId="{16B69F1E-AA3F-E446-9A41-B4B12DC92983}" srcId="{0B462BE1-A379-6245-AD8F-F10FD4B31998}" destId="{A6C7CB65-7D85-9640-ADDB-D6EB06AF9392}" srcOrd="4" destOrd="0" parTransId="{BE7C6BB9-7A02-ED47-A5C5-85AB61928407}" sibTransId="{210E4D6B-ED80-C543-9F6F-4D701F92703A}"/>
    <dgm:cxn modelId="{23D99776-0A96-534D-B870-0389835AA2AB}" type="presOf" srcId="{BA7BA35D-9D12-044C-98F4-9F2585E6C4D0}" destId="{518508A5-E43B-D543-B40E-DE0B1130963D}" srcOrd="0" destOrd="0" presId="urn:microsoft.com/office/officeart/2005/8/layout/hierarchy1"/>
    <dgm:cxn modelId="{AE3A1524-1ABF-594B-AF22-AE80E24D6B21}" type="presOf" srcId="{F30BCE99-25A9-8E46-B5AA-904BFC78A896}" destId="{3F0E2D44-568D-9449-A3A0-408C0345B63E}" srcOrd="0" destOrd="0" presId="urn:microsoft.com/office/officeart/2005/8/layout/hierarchy1"/>
    <dgm:cxn modelId="{66769842-8084-3842-BE1E-85DA44648824}" srcId="{2E638D7C-1ED2-204B-A129-857DACDB62BF}" destId="{EB807657-1E7A-A147-A401-873AAD35182F}" srcOrd="1" destOrd="0" parTransId="{4FDFC228-5972-1143-9942-BF592A2858E5}" sibTransId="{63A5D72E-2572-244F-96B7-3DE4F25A0252}"/>
    <dgm:cxn modelId="{BD736868-FE2D-9040-A038-51720F811A31}" srcId="{D02EA594-81C3-314D-A1B7-696AA8C9648F}" destId="{458A354D-0583-4144-8948-105B62B88535}" srcOrd="1" destOrd="0" parTransId="{303B8E5E-86A0-7747-8DA5-6E5458A4FB4F}" sibTransId="{D49D8012-C33A-ED48-A0BB-2072D0906C2C}"/>
    <dgm:cxn modelId="{6ABA569E-D42B-3047-A28C-FCAC9F974379}" type="presOf" srcId="{D02EA594-81C3-314D-A1B7-696AA8C9648F}" destId="{73BA27F4-3664-6B4F-871E-ED38BC6294D2}" srcOrd="0" destOrd="0" presId="urn:microsoft.com/office/officeart/2005/8/layout/hierarchy1"/>
    <dgm:cxn modelId="{F12B24C0-3229-6C4D-BD0E-6C8634CA58EE}" type="presOf" srcId="{2E638D7C-1ED2-204B-A129-857DACDB62BF}" destId="{0F86F561-35CE-1D4C-B6D8-F85682496E29}" srcOrd="0" destOrd="0" presId="urn:microsoft.com/office/officeart/2005/8/layout/hierarchy1"/>
    <dgm:cxn modelId="{51B31603-0984-A340-8BB4-5AB69A7B6E3C}" type="presOf" srcId="{9CF4C73D-5AB3-D94A-8E4C-CF09AF55A75C}" destId="{5B70798D-C3A6-1946-84AF-BEFEA2479205}" srcOrd="0" destOrd="0" presId="urn:microsoft.com/office/officeart/2005/8/layout/hierarchy1"/>
    <dgm:cxn modelId="{9DA9FDF7-2F54-9447-92E7-E3CFC4F57C4B}" type="presOf" srcId="{96FDEEE7-0546-5945-958A-39B1CBD1EA1C}" destId="{DA21F375-A073-FB4E-A96B-7FBC9541A8F1}" srcOrd="0" destOrd="0" presId="urn:microsoft.com/office/officeart/2005/8/layout/hierarchy1"/>
    <dgm:cxn modelId="{40677A0E-6335-8244-9D45-37DD9C870F7C}" srcId="{458A354D-0583-4144-8948-105B62B88535}" destId="{506AD9AF-1885-1340-8134-ED201D53DA02}" srcOrd="0" destOrd="0" parTransId="{54646245-D341-B949-B8ED-B5E6CF33FC30}" sibTransId="{8070D3BA-C167-EC40-A68C-8557809C8493}"/>
    <dgm:cxn modelId="{33CDDE6B-2F4D-F546-A9DD-94B7F3929DBF}" type="presOf" srcId="{34209A5B-396D-7748-89CA-F9440E9A4C72}" destId="{43101436-2016-7D4F-AE5D-B2652F8CE5E8}" srcOrd="0" destOrd="0" presId="urn:microsoft.com/office/officeart/2005/8/layout/hierarchy1"/>
    <dgm:cxn modelId="{3D8AC4AC-2D64-1847-BD98-F8338DDD34C6}" type="presOf" srcId="{1EBD3E84-6E47-1845-90EA-1AE7D472BE5A}" destId="{2C97ECF5-391F-AD48-A0FC-40171AE60FB5}" srcOrd="0" destOrd="0" presId="urn:microsoft.com/office/officeart/2005/8/layout/hierarchy1"/>
    <dgm:cxn modelId="{67DBBB9C-AA5A-D444-A2B4-AE00DD489217}" type="presOf" srcId="{6B23FAFB-7BAF-5246-8C0D-A16A4A6049BA}" destId="{EDEB1C70-4FE5-AA47-A82A-51DB412D401E}" srcOrd="0" destOrd="0" presId="urn:microsoft.com/office/officeart/2005/8/layout/hierarchy1"/>
    <dgm:cxn modelId="{99C539DB-5FDF-534C-A847-66CFDE5FD5D0}" type="presOf" srcId="{6287AE0E-58C8-F04A-93A0-94CD0EE18F37}" destId="{D987B80A-1F0C-0D4B-9169-98364EEDB9EA}" srcOrd="0" destOrd="0" presId="urn:microsoft.com/office/officeart/2005/8/layout/hierarchy1"/>
    <dgm:cxn modelId="{B248AFAD-7099-9649-9805-8072D3E0D32F}" type="presOf" srcId="{92AA3F81-FC54-934C-9AC8-4D4970F2CB69}" destId="{B9A61C76-A7E3-6A4F-BB7E-2E9872B00A1A}" srcOrd="0" destOrd="0" presId="urn:microsoft.com/office/officeart/2005/8/layout/hierarchy1"/>
    <dgm:cxn modelId="{4CB1B034-7B8C-0F47-837A-D83570E6F9BA}" srcId="{A4489D2D-3502-E744-B42A-C544FB6E1DD6}" destId="{0B462BE1-A379-6245-AD8F-F10FD4B31998}" srcOrd="1" destOrd="0" parTransId="{34209A5B-396D-7748-89CA-F9440E9A4C72}" sibTransId="{533B5D84-BCEE-B547-8F6D-D9D7D091E028}"/>
    <dgm:cxn modelId="{60089684-39D3-5247-AB51-A38B755B7397}" type="presOf" srcId="{ABDA1E80-6BE1-F044-A790-F4F7A2939337}" destId="{2808DE55-9F8A-8848-A7E9-4A1EF0C750AD}" srcOrd="0" destOrd="0" presId="urn:microsoft.com/office/officeart/2005/8/layout/hierarchy1"/>
    <dgm:cxn modelId="{334D0392-A64A-8341-97E8-B27432B20FC6}" srcId="{E113F167-9579-4644-A4F7-939B86BCAA24}" destId="{E5F9A2C3-03B9-A845-AA7C-0E8EBD53E3DE}" srcOrd="0" destOrd="0" parTransId="{87A4BA89-2DBF-3042-9C8D-BB013EF6202F}" sibTransId="{116BF499-1D77-CE49-B721-FED7B3FA7556}"/>
    <dgm:cxn modelId="{B5E8FAE3-D25F-7F4A-9CBE-1DA1E52FC3B9}" type="presOf" srcId="{93819FFF-D68C-0E41-817F-122D5E359C97}" destId="{E42BD201-0F7A-1846-BDB9-F0F91193CE4C}" srcOrd="0" destOrd="0" presId="urn:microsoft.com/office/officeart/2005/8/layout/hierarchy1"/>
    <dgm:cxn modelId="{3CB615CE-83A5-CE45-8A0F-789C2BEDE893}" type="presOf" srcId="{A4489D2D-3502-E744-B42A-C544FB6E1DD6}" destId="{138A536F-7683-004E-B24D-20AF4521B901}" srcOrd="0" destOrd="0" presId="urn:microsoft.com/office/officeart/2005/8/layout/hierarchy1"/>
    <dgm:cxn modelId="{83E231F4-E6D7-324A-B8FC-FAB007E16726}" type="presOf" srcId="{D429C98F-D7AF-4247-8A9A-387DAC271322}" destId="{CF122DAB-A066-7E44-8FA3-442C022AEA85}" srcOrd="0" destOrd="0" presId="urn:microsoft.com/office/officeart/2005/8/layout/hierarchy1"/>
    <dgm:cxn modelId="{38AFAF46-14D5-E449-BEBA-5484A15B59B6}" srcId="{BA7BA35D-9D12-044C-98F4-9F2585E6C4D0}" destId="{D429C98F-D7AF-4247-8A9A-387DAC271322}" srcOrd="1" destOrd="0" parTransId="{61A347D8-DE43-FF40-B913-0F7C122392A5}" sibTransId="{92C40DCF-E280-6C41-A3E1-2F81394C3261}"/>
    <dgm:cxn modelId="{B7C3EC1C-94C8-7E43-A384-A84FC13180DA}" type="presOf" srcId="{FF966559-30A4-E643-A3BE-EA8623C4ED98}" destId="{2679EBE4-B7CF-9A40-B23C-62FAAF390EA4}" srcOrd="0" destOrd="0" presId="urn:microsoft.com/office/officeart/2005/8/layout/hierarchy1"/>
    <dgm:cxn modelId="{CB257BD9-AE50-B845-BA6D-566C25561DAC}" srcId="{B15DE8A6-FA76-B940-8435-E709EF4FA037}" destId="{6BC94220-1974-824C-8ECA-AE3D20E6BEEC}" srcOrd="1" destOrd="0" parTransId="{6287AE0E-58C8-F04A-93A0-94CD0EE18F37}" sibTransId="{9AF87931-E6F0-A843-BBB5-59B4352FB905}"/>
    <dgm:cxn modelId="{2B6CE843-7238-6D4F-8EC3-A948BA3F90D6}" type="presOf" srcId="{61A347D8-DE43-FF40-B913-0F7C122392A5}" destId="{4ED83D31-C156-1947-844E-17B2AFD7FA96}" srcOrd="0" destOrd="0" presId="urn:microsoft.com/office/officeart/2005/8/layout/hierarchy1"/>
    <dgm:cxn modelId="{F6FFFBFA-231F-8A40-8CE1-4F378F54B756}" type="presOf" srcId="{873461D6-0908-B542-9EC4-C2B89C986A7F}" destId="{BE2A5B58-D991-F241-86D6-29C441398F16}" srcOrd="0" destOrd="0" presId="urn:microsoft.com/office/officeart/2005/8/layout/hierarchy1"/>
    <dgm:cxn modelId="{64C8ACFE-AFC8-3A42-BED2-B30E9A46666C}" srcId="{2E638D7C-1ED2-204B-A129-857DACDB62BF}" destId="{A4489D2D-3502-E744-B42A-C544FB6E1DD6}" srcOrd="0" destOrd="0" parTransId="{BD1A5A5E-C0A8-E047-B660-2F61D7C41CA2}" sibTransId="{FCB7D02A-01AC-8044-B048-A1D58E40B7EF}"/>
    <dgm:cxn modelId="{724C94C9-DDD0-C045-A9C7-E6E1E2C0D284}" type="presOf" srcId="{A207DA0F-F568-844F-B926-F1500905B810}" destId="{E1883D82-18C2-4949-A771-0EBF108BDF3F}" srcOrd="0" destOrd="0" presId="urn:microsoft.com/office/officeart/2005/8/layout/hierarchy1"/>
    <dgm:cxn modelId="{E02A11C0-0F71-0E45-A7E5-6AFC25B1E515}" type="presOf" srcId="{4FDFC228-5972-1143-9942-BF592A2858E5}" destId="{2C3C82AD-032B-AF4F-8E85-D4B6E9B226B3}" srcOrd="0" destOrd="0" presId="urn:microsoft.com/office/officeart/2005/8/layout/hierarchy1"/>
    <dgm:cxn modelId="{EC172C38-4013-4948-B55A-E245955E2990}" type="presOf" srcId="{BE7C6BB9-7A02-ED47-A5C5-85AB61928407}" destId="{03A6CAC0-9079-D147-81E2-9DF05C7C4B8F}" srcOrd="0" destOrd="0" presId="urn:microsoft.com/office/officeart/2005/8/layout/hierarchy1"/>
    <dgm:cxn modelId="{4737FC03-9206-7F44-91D3-F4835225006D}" type="presParOf" srcId="{041119CE-361E-6D4A-9899-F5AB6B6B890A}" destId="{59E409A7-F9A3-DB4B-B719-C8F4A359C27D}" srcOrd="0" destOrd="0" presId="urn:microsoft.com/office/officeart/2005/8/layout/hierarchy1"/>
    <dgm:cxn modelId="{3079A96D-83CA-F747-AAF6-EA700882DE62}" type="presParOf" srcId="{59E409A7-F9A3-DB4B-B719-C8F4A359C27D}" destId="{CA0A7D2D-A7C8-9C4B-B5EB-0601FBF8DAA6}" srcOrd="0" destOrd="0" presId="urn:microsoft.com/office/officeart/2005/8/layout/hierarchy1"/>
    <dgm:cxn modelId="{316542F2-0433-2C41-B85B-0E1771DFEDB5}" type="presParOf" srcId="{CA0A7D2D-A7C8-9C4B-B5EB-0601FBF8DAA6}" destId="{9050CC20-909F-5248-96C4-4DF4753AA48C}" srcOrd="0" destOrd="0" presId="urn:microsoft.com/office/officeart/2005/8/layout/hierarchy1"/>
    <dgm:cxn modelId="{AC8040A8-A9C6-594A-93FF-5E7FAFAEEFDE}" type="presParOf" srcId="{CA0A7D2D-A7C8-9C4B-B5EB-0601FBF8DAA6}" destId="{82FE6A12-C625-6148-8699-AE7449FC7055}" srcOrd="1" destOrd="0" presId="urn:microsoft.com/office/officeart/2005/8/layout/hierarchy1"/>
    <dgm:cxn modelId="{F05A9B95-E4CE-AD47-95EF-ECDF0F3FF1FD}" type="presParOf" srcId="{59E409A7-F9A3-DB4B-B719-C8F4A359C27D}" destId="{4CCF5A43-1581-D54B-8324-BEEDAD9B0B89}" srcOrd="1" destOrd="0" presId="urn:microsoft.com/office/officeart/2005/8/layout/hierarchy1"/>
    <dgm:cxn modelId="{BB5EB24D-1D80-0640-8A59-ECBDBB58584A}" type="presParOf" srcId="{4CCF5A43-1581-D54B-8324-BEEDAD9B0B89}" destId="{DA21F375-A073-FB4E-A96B-7FBC9541A8F1}" srcOrd="0" destOrd="0" presId="urn:microsoft.com/office/officeart/2005/8/layout/hierarchy1"/>
    <dgm:cxn modelId="{0D16D3BC-D0E7-6041-982B-726B1EDF3192}" type="presParOf" srcId="{4CCF5A43-1581-D54B-8324-BEEDAD9B0B89}" destId="{BBE9DF3B-EC04-AF45-B68D-C372E5A6FCBE}" srcOrd="1" destOrd="0" presId="urn:microsoft.com/office/officeart/2005/8/layout/hierarchy1"/>
    <dgm:cxn modelId="{BD61FCC6-616F-B645-98DF-C4E342E27D79}" type="presParOf" srcId="{BBE9DF3B-EC04-AF45-B68D-C372E5A6FCBE}" destId="{C17D896A-07A8-CD49-8D37-095C00D0C55B}" srcOrd="0" destOrd="0" presId="urn:microsoft.com/office/officeart/2005/8/layout/hierarchy1"/>
    <dgm:cxn modelId="{E25A52FB-4B9C-7E4B-AE81-1B155D430A4B}" type="presParOf" srcId="{C17D896A-07A8-CD49-8D37-095C00D0C55B}" destId="{7A368920-6EB9-3D45-81F4-2DF243B8D7B5}" srcOrd="0" destOrd="0" presId="urn:microsoft.com/office/officeart/2005/8/layout/hierarchy1"/>
    <dgm:cxn modelId="{A1DAB041-7544-094C-BB9D-926DC1591410}" type="presParOf" srcId="{C17D896A-07A8-CD49-8D37-095C00D0C55B}" destId="{63B7A575-DE96-8645-AC5B-E6A39AF5DC6C}" srcOrd="1" destOrd="0" presId="urn:microsoft.com/office/officeart/2005/8/layout/hierarchy1"/>
    <dgm:cxn modelId="{A818A117-DB29-6F4C-BFDD-7B065454A782}" type="presParOf" srcId="{BBE9DF3B-EC04-AF45-B68D-C372E5A6FCBE}" destId="{9FB19EFB-3BC8-0249-A6BE-2B9BC16A185F}" srcOrd="1" destOrd="0" presId="urn:microsoft.com/office/officeart/2005/8/layout/hierarchy1"/>
    <dgm:cxn modelId="{6898588B-D949-8B42-B910-91A252FC838E}" type="presParOf" srcId="{9FB19EFB-3BC8-0249-A6BE-2B9BC16A185F}" destId="{D9422978-523E-CD4F-8CF7-3BB498BE958D}" srcOrd="0" destOrd="0" presId="urn:microsoft.com/office/officeart/2005/8/layout/hierarchy1"/>
    <dgm:cxn modelId="{639D67EF-3380-1345-9223-60ECA4EA3E1B}" type="presParOf" srcId="{9FB19EFB-3BC8-0249-A6BE-2B9BC16A185F}" destId="{9B3F31B8-64E5-3045-BCD3-C0B9E4BBE336}" srcOrd="1" destOrd="0" presId="urn:microsoft.com/office/officeart/2005/8/layout/hierarchy1"/>
    <dgm:cxn modelId="{52BFB005-BC22-BE44-BC9C-EEBD65088EC4}" type="presParOf" srcId="{9B3F31B8-64E5-3045-BCD3-C0B9E4BBE336}" destId="{592AEBDD-B049-084F-9606-DD51E23C8265}" srcOrd="0" destOrd="0" presId="urn:microsoft.com/office/officeart/2005/8/layout/hierarchy1"/>
    <dgm:cxn modelId="{95350D0E-54CB-9B4C-9A5B-05A8B3DFB055}" type="presParOf" srcId="{592AEBDD-B049-084F-9606-DD51E23C8265}" destId="{B7350A6E-394F-BB43-BE94-4E26FED2EBD2}" srcOrd="0" destOrd="0" presId="urn:microsoft.com/office/officeart/2005/8/layout/hierarchy1"/>
    <dgm:cxn modelId="{FD51E1AA-108B-3E41-8EB6-F6991B31512E}" type="presParOf" srcId="{592AEBDD-B049-084F-9606-DD51E23C8265}" destId="{C70A0475-1CC2-774A-8C22-A2353C6785EC}" srcOrd="1" destOrd="0" presId="urn:microsoft.com/office/officeart/2005/8/layout/hierarchy1"/>
    <dgm:cxn modelId="{AAAFA4C9-44FB-B941-873F-1A480AB4B71B}" type="presParOf" srcId="{9B3F31B8-64E5-3045-BCD3-C0B9E4BBE336}" destId="{9C6AA9DC-F29D-5142-9D54-F4F84B3052E5}" srcOrd="1" destOrd="0" presId="urn:microsoft.com/office/officeart/2005/8/layout/hierarchy1"/>
    <dgm:cxn modelId="{B9E6D37C-D0B1-5946-AB49-3607B15416D2}" type="presParOf" srcId="{4CCF5A43-1581-D54B-8324-BEEDAD9B0B89}" destId="{88AF7F94-DB0A-F044-8776-B2A20A2D2686}" srcOrd="2" destOrd="0" presId="urn:microsoft.com/office/officeart/2005/8/layout/hierarchy1"/>
    <dgm:cxn modelId="{3D5EF0ED-3B1D-0948-BA14-11E4E22D6471}" type="presParOf" srcId="{4CCF5A43-1581-D54B-8324-BEEDAD9B0B89}" destId="{25F64D7D-38CB-FF4A-B8C2-259CD448B2EE}" srcOrd="3" destOrd="0" presId="urn:microsoft.com/office/officeart/2005/8/layout/hierarchy1"/>
    <dgm:cxn modelId="{8BC70A9A-3E77-7B42-AB46-3944D4345943}" type="presParOf" srcId="{25F64D7D-38CB-FF4A-B8C2-259CD448B2EE}" destId="{332362E7-28B5-3D4C-ADA4-0705072D8B94}" srcOrd="0" destOrd="0" presId="urn:microsoft.com/office/officeart/2005/8/layout/hierarchy1"/>
    <dgm:cxn modelId="{309D9BED-F66E-FA43-A25C-CF4F75714ECB}" type="presParOf" srcId="{332362E7-28B5-3D4C-ADA4-0705072D8B94}" destId="{427BAE15-FB5D-CF46-B60E-EE174256773F}" srcOrd="0" destOrd="0" presId="urn:microsoft.com/office/officeart/2005/8/layout/hierarchy1"/>
    <dgm:cxn modelId="{8F5355B1-0DDD-5D45-953E-D546952A6DF2}" type="presParOf" srcId="{332362E7-28B5-3D4C-ADA4-0705072D8B94}" destId="{73BA27F4-3664-6B4F-871E-ED38BC6294D2}" srcOrd="1" destOrd="0" presId="urn:microsoft.com/office/officeart/2005/8/layout/hierarchy1"/>
    <dgm:cxn modelId="{C4CE9E4A-FA33-284A-88EC-AB963C012B8A}" type="presParOf" srcId="{25F64D7D-38CB-FF4A-B8C2-259CD448B2EE}" destId="{871F69FA-CEF6-6545-8F89-04325B1FED96}" srcOrd="1" destOrd="0" presId="urn:microsoft.com/office/officeart/2005/8/layout/hierarchy1"/>
    <dgm:cxn modelId="{DCA3BA3A-8CF1-4243-B041-922670985375}" type="presParOf" srcId="{871F69FA-CEF6-6545-8F89-04325B1FED96}" destId="{BE2A5B58-D991-F241-86D6-29C441398F16}" srcOrd="0" destOrd="0" presId="urn:microsoft.com/office/officeart/2005/8/layout/hierarchy1"/>
    <dgm:cxn modelId="{103ABE63-2CC8-FA4A-84E9-D3B4851E3804}" type="presParOf" srcId="{871F69FA-CEF6-6545-8F89-04325B1FED96}" destId="{19F77E30-4950-DA43-B9AB-4FCA0676D9D2}" srcOrd="1" destOrd="0" presId="urn:microsoft.com/office/officeart/2005/8/layout/hierarchy1"/>
    <dgm:cxn modelId="{4A429A01-88FB-4F41-A8EA-66A28D6FE60F}" type="presParOf" srcId="{19F77E30-4950-DA43-B9AB-4FCA0676D9D2}" destId="{6B359887-F8B5-9D4D-BF20-71A1DCE0EBB8}" srcOrd="0" destOrd="0" presId="urn:microsoft.com/office/officeart/2005/8/layout/hierarchy1"/>
    <dgm:cxn modelId="{0EDE6493-EECF-0049-9685-063761D3CC8F}" type="presParOf" srcId="{6B359887-F8B5-9D4D-BF20-71A1DCE0EBB8}" destId="{AEEAB671-2D1B-D443-A46C-C1C1A416D93A}" srcOrd="0" destOrd="0" presId="urn:microsoft.com/office/officeart/2005/8/layout/hierarchy1"/>
    <dgm:cxn modelId="{2CE971C3-E759-5344-B6A0-9B508D491FFC}" type="presParOf" srcId="{6B359887-F8B5-9D4D-BF20-71A1DCE0EBB8}" destId="{0F86F561-35CE-1D4C-B6D8-F85682496E29}" srcOrd="1" destOrd="0" presId="urn:microsoft.com/office/officeart/2005/8/layout/hierarchy1"/>
    <dgm:cxn modelId="{634CE50C-E83E-7747-A9C5-D7234D0C1C4B}" type="presParOf" srcId="{19F77E30-4950-DA43-B9AB-4FCA0676D9D2}" destId="{5B377F24-BF42-F841-AD43-70F796E4188D}" srcOrd="1" destOrd="0" presId="urn:microsoft.com/office/officeart/2005/8/layout/hierarchy1"/>
    <dgm:cxn modelId="{C82C6DCA-A079-FB48-9928-A35A8F941956}" type="presParOf" srcId="{5B377F24-BF42-F841-AD43-70F796E4188D}" destId="{627D7303-76E1-1B4B-9836-288B5133FB0E}" srcOrd="0" destOrd="0" presId="urn:microsoft.com/office/officeart/2005/8/layout/hierarchy1"/>
    <dgm:cxn modelId="{6A706368-EB5E-E741-A02E-845207CCC9C3}" type="presParOf" srcId="{5B377F24-BF42-F841-AD43-70F796E4188D}" destId="{E86C0A30-D506-464C-8366-FA4C498352E8}" srcOrd="1" destOrd="0" presId="urn:microsoft.com/office/officeart/2005/8/layout/hierarchy1"/>
    <dgm:cxn modelId="{2863B1B1-8989-6E4B-AC55-DF5CC7C11311}" type="presParOf" srcId="{E86C0A30-D506-464C-8366-FA4C498352E8}" destId="{26BF0249-648C-8E4E-96D0-4C2194413DC6}" srcOrd="0" destOrd="0" presId="urn:microsoft.com/office/officeart/2005/8/layout/hierarchy1"/>
    <dgm:cxn modelId="{076A2157-BA7E-2A4E-8396-251A0098D587}" type="presParOf" srcId="{26BF0249-648C-8E4E-96D0-4C2194413DC6}" destId="{FDE0AEF6-A34A-8342-9A8E-A03414AE2766}" srcOrd="0" destOrd="0" presId="urn:microsoft.com/office/officeart/2005/8/layout/hierarchy1"/>
    <dgm:cxn modelId="{06BCA12E-7EEC-F048-8A61-F355B3E7824C}" type="presParOf" srcId="{26BF0249-648C-8E4E-96D0-4C2194413DC6}" destId="{138A536F-7683-004E-B24D-20AF4521B901}" srcOrd="1" destOrd="0" presId="urn:microsoft.com/office/officeart/2005/8/layout/hierarchy1"/>
    <dgm:cxn modelId="{8BC09BA0-9153-344C-9180-6BD139E6C463}" type="presParOf" srcId="{E86C0A30-D506-464C-8366-FA4C498352E8}" destId="{4E1DDDB0-0549-3E4C-9293-526E13E384C2}" srcOrd="1" destOrd="0" presId="urn:microsoft.com/office/officeart/2005/8/layout/hierarchy1"/>
    <dgm:cxn modelId="{86F497D9-380B-AA40-8BF3-58CB6C4ACD15}" type="presParOf" srcId="{4E1DDDB0-0549-3E4C-9293-526E13E384C2}" destId="{8902A2A4-59E8-7449-A3E0-DEF28AE2293D}" srcOrd="0" destOrd="0" presId="urn:microsoft.com/office/officeart/2005/8/layout/hierarchy1"/>
    <dgm:cxn modelId="{E141518F-EB22-A145-AFE3-28271A5F59B4}" type="presParOf" srcId="{4E1DDDB0-0549-3E4C-9293-526E13E384C2}" destId="{C31E280C-00BB-0446-A09B-546AC6E61B73}" srcOrd="1" destOrd="0" presId="urn:microsoft.com/office/officeart/2005/8/layout/hierarchy1"/>
    <dgm:cxn modelId="{E064BC17-2A56-AD46-B1CA-D96F0B5A7424}" type="presParOf" srcId="{C31E280C-00BB-0446-A09B-546AC6E61B73}" destId="{C559DC98-2C94-2948-96D8-AB7E0F371114}" srcOrd="0" destOrd="0" presId="urn:microsoft.com/office/officeart/2005/8/layout/hierarchy1"/>
    <dgm:cxn modelId="{1E0E6568-4E61-B542-B925-DB50B47AF9B3}" type="presParOf" srcId="{C559DC98-2C94-2948-96D8-AB7E0F371114}" destId="{DB7226B8-A6A0-9647-83EE-4AF67924B5DE}" srcOrd="0" destOrd="0" presId="urn:microsoft.com/office/officeart/2005/8/layout/hierarchy1"/>
    <dgm:cxn modelId="{E1B834A8-A35A-4047-8FF3-530FF1898513}" type="presParOf" srcId="{C559DC98-2C94-2948-96D8-AB7E0F371114}" destId="{518508A5-E43B-D543-B40E-DE0B1130963D}" srcOrd="1" destOrd="0" presId="urn:microsoft.com/office/officeart/2005/8/layout/hierarchy1"/>
    <dgm:cxn modelId="{1EDD578F-A33F-6946-8324-9FD1BE7FD20F}" type="presParOf" srcId="{C31E280C-00BB-0446-A09B-546AC6E61B73}" destId="{7259FDC0-4FB0-E246-B11E-B60BFEF8BE2F}" srcOrd="1" destOrd="0" presId="urn:microsoft.com/office/officeart/2005/8/layout/hierarchy1"/>
    <dgm:cxn modelId="{F2123C0D-4D18-9A4E-A53B-92D55A2BA0AD}" type="presParOf" srcId="{7259FDC0-4FB0-E246-B11E-B60BFEF8BE2F}" destId="{3F0E2D44-568D-9449-A3A0-408C0345B63E}" srcOrd="0" destOrd="0" presId="urn:microsoft.com/office/officeart/2005/8/layout/hierarchy1"/>
    <dgm:cxn modelId="{B91F8A67-9292-6E4B-B899-8DB7C45D14FD}" type="presParOf" srcId="{7259FDC0-4FB0-E246-B11E-B60BFEF8BE2F}" destId="{2E78CF73-8619-DE49-A73F-A60F12ED9939}" srcOrd="1" destOrd="0" presId="urn:microsoft.com/office/officeart/2005/8/layout/hierarchy1"/>
    <dgm:cxn modelId="{1D9D7284-0BE3-BB4F-83D0-342FC76CC778}" type="presParOf" srcId="{2E78CF73-8619-DE49-A73F-A60F12ED9939}" destId="{C95BAAC4-726E-8642-AD7F-A721FCD36E67}" srcOrd="0" destOrd="0" presId="urn:microsoft.com/office/officeart/2005/8/layout/hierarchy1"/>
    <dgm:cxn modelId="{72EBAC38-3C6C-5E4B-8AAC-5D0520C571C8}" type="presParOf" srcId="{C95BAAC4-726E-8642-AD7F-A721FCD36E67}" destId="{79F57F85-F418-E44C-987A-F9F3393C53E7}" srcOrd="0" destOrd="0" presId="urn:microsoft.com/office/officeart/2005/8/layout/hierarchy1"/>
    <dgm:cxn modelId="{F9E71E54-2FA0-B646-88C7-56515294BA96}" type="presParOf" srcId="{C95BAAC4-726E-8642-AD7F-A721FCD36E67}" destId="{07B98606-11FE-CA48-8422-B298E5C42992}" srcOrd="1" destOrd="0" presId="urn:microsoft.com/office/officeart/2005/8/layout/hierarchy1"/>
    <dgm:cxn modelId="{CCCF22D9-69ED-0549-98EA-1C73169E7D8B}" type="presParOf" srcId="{2E78CF73-8619-DE49-A73F-A60F12ED9939}" destId="{3F5692C5-1FAA-F543-B6FC-E43AB97275E3}" srcOrd="1" destOrd="0" presId="urn:microsoft.com/office/officeart/2005/8/layout/hierarchy1"/>
    <dgm:cxn modelId="{CAC31E51-4373-A447-9ACC-CBDCBD002806}" type="presParOf" srcId="{7259FDC0-4FB0-E246-B11E-B60BFEF8BE2F}" destId="{4ED83D31-C156-1947-844E-17B2AFD7FA96}" srcOrd="2" destOrd="0" presId="urn:microsoft.com/office/officeart/2005/8/layout/hierarchy1"/>
    <dgm:cxn modelId="{554B818B-CE4D-EB45-8147-BE9B1079E0C8}" type="presParOf" srcId="{7259FDC0-4FB0-E246-B11E-B60BFEF8BE2F}" destId="{7E75C92C-6547-7D4B-BDDE-FD85FB7C981E}" srcOrd="3" destOrd="0" presId="urn:microsoft.com/office/officeart/2005/8/layout/hierarchy1"/>
    <dgm:cxn modelId="{4349F402-E039-184A-8482-B16A638ACAF3}" type="presParOf" srcId="{7E75C92C-6547-7D4B-BDDE-FD85FB7C981E}" destId="{960950A3-D9C5-2446-90B6-0F3A287A3D22}" srcOrd="0" destOrd="0" presId="urn:microsoft.com/office/officeart/2005/8/layout/hierarchy1"/>
    <dgm:cxn modelId="{DC6B6CC2-15F5-9D46-8003-365E23F4DAAF}" type="presParOf" srcId="{960950A3-D9C5-2446-90B6-0F3A287A3D22}" destId="{A0D537F5-FBE3-714F-928F-348A62D6B38B}" srcOrd="0" destOrd="0" presId="urn:microsoft.com/office/officeart/2005/8/layout/hierarchy1"/>
    <dgm:cxn modelId="{F889208C-C42B-CB4F-B664-8C2B1104A7BA}" type="presParOf" srcId="{960950A3-D9C5-2446-90B6-0F3A287A3D22}" destId="{CF122DAB-A066-7E44-8FA3-442C022AEA85}" srcOrd="1" destOrd="0" presId="urn:microsoft.com/office/officeart/2005/8/layout/hierarchy1"/>
    <dgm:cxn modelId="{9F06A5C0-72B7-184F-90EF-C1A2040AAACD}" type="presParOf" srcId="{7E75C92C-6547-7D4B-BDDE-FD85FB7C981E}" destId="{29110284-9E97-7E4C-833F-B6FF7678A9D7}" srcOrd="1" destOrd="0" presId="urn:microsoft.com/office/officeart/2005/8/layout/hierarchy1"/>
    <dgm:cxn modelId="{0147738E-5A0A-FC4C-9CC1-9DBA7F1A9C97}" type="presParOf" srcId="{7259FDC0-4FB0-E246-B11E-B60BFEF8BE2F}" destId="{2CFBB32C-E833-D742-A141-2B3CC88B5EB3}" srcOrd="4" destOrd="0" presId="urn:microsoft.com/office/officeart/2005/8/layout/hierarchy1"/>
    <dgm:cxn modelId="{A924F1D5-8E32-9046-B716-FFBCDE297372}" type="presParOf" srcId="{7259FDC0-4FB0-E246-B11E-B60BFEF8BE2F}" destId="{89E257BC-CA66-314A-BBAD-CD0E233018BC}" srcOrd="5" destOrd="0" presId="urn:microsoft.com/office/officeart/2005/8/layout/hierarchy1"/>
    <dgm:cxn modelId="{105A966E-2E62-C944-B0E1-732445102FBA}" type="presParOf" srcId="{89E257BC-CA66-314A-BBAD-CD0E233018BC}" destId="{B55AA3B4-AA3A-3F43-97E5-47276F0CFCC6}" srcOrd="0" destOrd="0" presId="urn:microsoft.com/office/officeart/2005/8/layout/hierarchy1"/>
    <dgm:cxn modelId="{5EF2EAB2-911B-7449-9073-8FA3F410CB7E}" type="presParOf" srcId="{B55AA3B4-AA3A-3F43-97E5-47276F0CFCC6}" destId="{3601B935-0BB7-8546-9694-07DB6C0B89FA}" srcOrd="0" destOrd="0" presId="urn:microsoft.com/office/officeart/2005/8/layout/hierarchy1"/>
    <dgm:cxn modelId="{6D636018-F0F4-8748-AC5D-1A054A182055}" type="presParOf" srcId="{B55AA3B4-AA3A-3F43-97E5-47276F0CFCC6}" destId="{212EEA2B-6397-6142-B487-01466663B327}" srcOrd="1" destOrd="0" presId="urn:microsoft.com/office/officeart/2005/8/layout/hierarchy1"/>
    <dgm:cxn modelId="{9482E2C8-1FE6-6144-8799-8196462DDBC5}" type="presParOf" srcId="{89E257BC-CA66-314A-BBAD-CD0E233018BC}" destId="{E71F7DEC-9749-D847-8BD1-B4DEC2AA37CE}" srcOrd="1" destOrd="0" presId="urn:microsoft.com/office/officeart/2005/8/layout/hierarchy1"/>
    <dgm:cxn modelId="{C926A5BE-265E-2B44-BD44-05DE9B9EE095}" type="presParOf" srcId="{4E1DDDB0-0549-3E4C-9293-526E13E384C2}" destId="{43101436-2016-7D4F-AE5D-B2652F8CE5E8}" srcOrd="2" destOrd="0" presId="urn:microsoft.com/office/officeart/2005/8/layout/hierarchy1"/>
    <dgm:cxn modelId="{396EC500-E712-9C4E-8963-9B0FD295278C}" type="presParOf" srcId="{4E1DDDB0-0549-3E4C-9293-526E13E384C2}" destId="{13B86624-1F16-124E-A15B-02289BCB65EF}" srcOrd="3" destOrd="0" presId="urn:microsoft.com/office/officeart/2005/8/layout/hierarchy1"/>
    <dgm:cxn modelId="{334DA429-A566-2048-830B-942716E942E3}" type="presParOf" srcId="{13B86624-1F16-124E-A15B-02289BCB65EF}" destId="{56079AA0-8FC8-994D-97D6-340181E590A0}" srcOrd="0" destOrd="0" presId="urn:microsoft.com/office/officeart/2005/8/layout/hierarchy1"/>
    <dgm:cxn modelId="{82BC3359-D293-0D41-9E4D-FA9E8D5C849E}" type="presParOf" srcId="{56079AA0-8FC8-994D-97D6-340181E590A0}" destId="{55A028E3-9F76-5C46-AD58-CB2D44B5DE09}" srcOrd="0" destOrd="0" presId="urn:microsoft.com/office/officeart/2005/8/layout/hierarchy1"/>
    <dgm:cxn modelId="{C835F3C0-4CF6-5E4E-8E91-9CE692071EF8}" type="presParOf" srcId="{56079AA0-8FC8-994D-97D6-340181E590A0}" destId="{ECB6BE80-AC9C-CE49-B2E7-28D9FEBE13B5}" srcOrd="1" destOrd="0" presId="urn:microsoft.com/office/officeart/2005/8/layout/hierarchy1"/>
    <dgm:cxn modelId="{354230BF-0719-CF45-B688-FDE62B892DD8}" type="presParOf" srcId="{13B86624-1F16-124E-A15B-02289BCB65EF}" destId="{D9C617D3-A9FE-1545-B41A-4AD35F559674}" srcOrd="1" destOrd="0" presId="urn:microsoft.com/office/officeart/2005/8/layout/hierarchy1"/>
    <dgm:cxn modelId="{5529B97B-6C1A-DC4B-8FA5-91BED970AC9E}" type="presParOf" srcId="{D9C617D3-A9FE-1545-B41A-4AD35F559674}" destId="{AF847CF5-5AEC-1E44-9F29-F9E6515AAADE}" srcOrd="0" destOrd="0" presId="urn:microsoft.com/office/officeart/2005/8/layout/hierarchy1"/>
    <dgm:cxn modelId="{78C94FF8-F904-2045-9ABB-8547FE8369C0}" type="presParOf" srcId="{D9C617D3-A9FE-1545-B41A-4AD35F559674}" destId="{2B80A708-BB63-1F4E-A062-90D8D87EDE07}" srcOrd="1" destOrd="0" presId="urn:microsoft.com/office/officeart/2005/8/layout/hierarchy1"/>
    <dgm:cxn modelId="{F9723108-E194-F544-8F2A-10C24A67399E}" type="presParOf" srcId="{2B80A708-BB63-1F4E-A062-90D8D87EDE07}" destId="{DF6363BA-C28C-D84E-A2FE-28CA07FD2B6C}" srcOrd="0" destOrd="0" presId="urn:microsoft.com/office/officeart/2005/8/layout/hierarchy1"/>
    <dgm:cxn modelId="{366BC614-9ADA-0845-AE2E-AEE3FBC1C931}" type="presParOf" srcId="{DF6363BA-C28C-D84E-A2FE-28CA07FD2B6C}" destId="{9C81A0D5-5419-354C-9E94-C35569F2ABF5}" srcOrd="0" destOrd="0" presId="urn:microsoft.com/office/officeart/2005/8/layout/hierarchy1"/>
    <dgm:cxn modelId="{417C2F0C-A6CC-8F40-9476-5D32B1CE7994}" type="presParOf" srcId="{DF6363BA-C28C-D84E-A2FE-28CA07FD2B6C}" destId="{134BD606-4D56-8646-8943-99D7AFE43949}" srcOrd="1" destOrd="0" presId="urn:microsoft.com/office/officeart/2005/8/layout/hierarchy1"/>
    <dgm:cxn modelId="{86FA5589-DB92-FE42-AAE9-3F62C98B764C}" type="presParOf" srcId="{2B80A708-BB63-1F4E-A062-90D8D87EDE07}" destId="{638B923B-4709-A040-83C8-9851B3A180C1}" srcOrd="1" destOrd="0" presId="urn:microsoft.com/office/officeart/2005/8/layout/hierarchy1"/>
    <dgm:cxn modelId="{73769671-7BF8-E74A-8AC5-59BC1BFAA26A}" type="presParOf" srcId="{638B923B-4709-A040-83C8-9851B3A180C1}" destId="{2679EBE4-B7CF-9A40-B23C-62FAAF390EA4}" srcOrd="0" destOrd="0" presId="urn:microsoft.com/office/officeart/2005/8/layout/hierarchy1"/>
    <dgm:cxn modelId="{D9BD568E-60A0-694E-ACC3-C66F7CDE0921}" type="presParOf" srcId="{638B923B-4709-A040-83C8-9851B3A180C1}" destId="{6ACD9610-613E-2343-80D8-6ED308247EE8}" srcOrd="1" destOrd="0" presId="urn:microsoft.com/office/officeart/2005/8/layout/hierarchy1"/>
    <dgm:cxn modelId="{D3B428BE-3707-EF40-B1F1-42527515B38E}" type="presParOf" srcId="{6ACD9610-613E-2343-80D8-6ED308247EE8}" destId="{BE216326-439D-EC48-B700-17E1CE8E6E8A}" srcOrd="0" destOrd="0" presId="urn:microsoft.com/office/officeart/2005/8/layout/hierarchy1"/>
    <dgm:cxn modelId="{6375E76E-0FE5-9046-A140-0509C366314D}" type="presParOf" srcId="{BE216326-439D-EC48-B700-17E1CE8E6E8A}" destId="{3790961E-D16E-0644-899C-CCCF0EA6410B}" srcOrd="0" destOrd="0" presId="urn:microsoft.com/office/officeart/2005/8/layout/hierarchy1"/>
    <dgm:cxn modelId="{0F2A475B-CB1D-5448-9E2F-5689A6895F3C}" type="presParOf" srcId="{BE216326-439D-EC48-B700-17E1CE8E6E8A}" destId="{C49EAA8B-EE1F-CA48-8B03-2A7021ADE29D}" srcOrd="1" destOrd="0" presId="urn:microsoft.com/office/officeart/2005/8/layout/hierarchy1"/>
    <dgm:cxn modelId="{F4E84673-40F7-3148-9BD4-9184CEDF4DCD}" type="presParOf" srcId="{6ACD9610-613E-2343-80D8-6ED308247EE8}" destId="{C9018B06-1494-5B47-AAF8-C383EE47E011}" srcOrd="1" destOrd="0" presId="urn:microsoft.com/office/officeart/2005/8/layout/hierarchy1"/>
    <dgm:cxn modelId="{CFAD87D3-03E0-A949-9EF1-4D9B76EB4FF8}" type="presParOf" srcId="{638B923B-4709-A040-83C8-9851B3A180C1}" destId="{D987B80A-1F0C-0D4B-9169-98364EEDB9EA}" srcOrd="2" destOrd="0" presId="urn:microsoft.com/office/officeart/2005/8/layout/hierarchy1"/>
    <dgm:cxn modelId="{35AA6D23-07FC-8D4B-989B-E8EAF9F34031}" type="presParOf" srcId="{638B923B-4709-A040-83C8-9851B3A180C1}" destId="{D5A2B955-AB33-9644-B434-71E7E24B6690}" srcOrd="3" destOrd="0" presId="urn:microsoft.com/office/officeart/2005/8/layout/hierarchy1"/>
    <dgm:cxn modelId="{C9620EC6-12A4-304C-AFD6-90EB1B7A8110}" type="presParOf" srcId="{D5A2B955-AB33-9644-B434-71E7E24B6690}" destId="{7499A2C1-2C5A-984A-8284-6EB2E4D09AE3}" srcOrd="0" destOrd="0" presId="urn:microsoft.com/office/officeart/2005/8/layout/hierarchy1"/>
    <dgm:cxn modelId="{49D8A4A3-8865-F943-9C42-D82204316494}" type="presParOf" srcId="{7499A2C1-2C5A-984A-8284-6EB2E4D09AE3}" destId="{2E362A95-1751-7345-B0C4-23CF52CC693A}" srcOrd="0" destOrd="0" presId="urn:microsoft.com/office/officeart/2005/8/layout/hierarchy1"/>
    <dgm:cxn modelId="{BA57137E-062A-3B4B-B3F3-AEEC589516EC}" type="presParOf" srcId="{7499A2C1-2C5A-984A-8284-6EB2E4D09AE3}" destId="{16A8F599-108A-BE46-B875-19727052ADF8}" srcOrd="1" destOrd="0" presId="urn:microsoft.com/office/officeart/2005/8/layout/hierarchy1"/>
    <dgm:cxn modelId="{D670AD40-5CD4-174B-8EA3-A93B302014B6}" type="presParOf" srcId="{D5A2B955-AB33-9644-B434-71E7E24B6690}" destId="{99BA75D5-65BE-A44F-9018-8BE8A28B3B1B}" srcOrd="1" destOrd="0" presId="urn:microsoft.com/office/officeart/2005/8/layout/hierarchy1"/>
    <dgm:cxn modelId="{2301E424-246F-E546-91D9-DDED97D30620}" type="presParOf" srcId="{638B923B-4709-A040-83C8-9851B3A180C1}" destId="{5A5C0017-0142-0048-BAE0-542180AA7BF5}" srcOrd="4" destOrd="0" presId="urn:microsoft.com/office/officeart/2005/8/layout/hierarchy1"/>
    <dgm:cxn modelId="{966F48A1-0FB9-0245-B014-67AEAD0E0827}" type="presParOf" srcId="{638B923B-4709-A040-83C8-9851B3A180C1}" destId="{B17F81E2-3FC9-C84D-AC2F-8A7435A767DD}" srcOrd="5" destOrd="0" presId="urn:microsoft.com/office/officeart/2005/8/layout/hierarchy1"/>
    <dgm:cxn modelId="{23D03C8A-49AB-F54B-90E0-9B103D4002EF}" type="presParOf" srcId="{B17F81E2-3FC9-C84D-AC2F-8A7435A767DD}" destId="{2E4D52A2-6C7D-3B45-884D-EBEA1CE83B3D}" srcOrd="0" destOrd="0" presId="urn:microsoft.com/office/officeart/2005/8/layout/hierarchy1"/>
    <dgm:cxn modelId="{C948A4FD-5D3F-4C47-A8F0-F6461C2AAD57}" type="presParOf" srcId="{2E4D52A2-6C7D-3B45-884D-EBEA1CE83B3D}" destId="{4097E5AA-1B44-564F-A667-7A49BD2DD1A4}" srcOrd="0" destOrd="0" presId="urn:microsoft.com/office/officeart/2005/8/layout/hierarchy1"/>
    <dgm:cxn modelId="{16EB9C39-11AC-DE49-B884-E32F1C06ED08}" type="presParOf" srcId="{2E4D52A2-6C7D-3B45-884D-EBEA1CE83B3D}" destId="{B9A61C76-A7E3-6A4F-BB7E-2E9872B00A1A}" srcOrd="1" destOrd="0" presId="urn:microsoft.com/office/officeart/2005/8/layout/hierarchy1"/>
    <dgm:cxn modelId="{E5500E44-9598-5E4E-BDDC-B125F7DCF209}" type="presParOf" srcId="{B17F81E2-3FC9-C84D-AC2F-8A7435A767DD}" destId="{7F1F3E51-A34E-AB42-991B-699313BAC13A}" srcOrd="1" destOrd="0" presId="urn:microsoft.com/office/officeart/2005/8/layout/hierarchy1"/>
    <dgm:cxn modelId="{CDDE3169-9C13-2F4B-92C5-B53F2AE45CE2}" type="presParOf" srcId="{D9C617D3-A9FE-1545-B41A-4AD35F559674}" destId="{B742E75B-0E40-B34D-A3EA-A53ACCBA4C9D}" srcOrd="2" destOrd="0" presId="urn:microsoft.com/office/officeart/2005/8/layout/hierarchy1"/>
    <dgm:cxn modelId="{268F2F11-DF30-8643-A1BD-F16AFA9D693A}" type="presParOf" srcId="{D9C617D3-A9FE-1545-B41A-4AD35F559674}" destId="{FA9E642F-8325-C345-911C-28402911896B}" srcOrd="3" destOrd="0" presId="urn:microsoft.com/office/officeart/2005/8/layout/hierarchy1"/>
    <dgm:cxn modelId="{19FC7A48-BEF5-E446-8D53-B183C0909E6B}" type="presParOf" srcId="{FA9E642F-8325-C345-911C-28402911896B}" destId="{233F4CB5-CF03-6241-9A5C-17E7761093B1}" srcOrd="0" destOrd="0" presId="urn:microsoft.com/office/officeart/2005/8/layout/hierarchy1"/>
    <dgm:cxn modelId="{80C5E12A-B69C-C842-8D56-C49508D97DE1}" type="presParOf" srcId="{233F4CB5-CF03-6241-9A5C-17E7761093B1}" destId="{A3384784-EA74-AF47-9299-41BC3A206A80}" srcOrd="0" destOrd="0" presId="urn:microsoft.com/office/officeart/2005/8/layout/hierarchy1"/>
    <dgm:cxn modelId="{D3524704-ED01-1C46-9FAF-C96E1528AA03}" type="presParOf" srcId="{233F4CB5-CF03-6241-9A5C-17E7761093B1}" destId="{4F751C59-FDD2-E64C-BCA6-3266CEAE30D8}" srcOrd="1" destOrd="0" presId="urn:microsoft.com/office/officeart/2005/8/layout/hierarchy1"/>
    <dgm:cxn modelId="{48F6CCEB-EC7D-6E4F-93EE-71724AAEEFDA}" type="presParOf" srcId="{FA9E642F-8325-C345-911C-28402911896B}" destId="{2AF2BB2C-B2D9-4947-8897-7697A436B5E7}" srcOrd="1" destOrd="0" presId="urn:microsoft.com/office/officeart/2005/8/layout/hierarchy1"/>
    <dgm:cxn modelId="{F04EF9E9-A57D-C041-BFB3-FDC61A5F4E1F}" type="presParOf" srcId="{D9C617D3-A9FE-1545-B41A-4AD35F559674}" destId="{2C97ECF5-391F-AD48-A0FC-40171AE60FB5}" srcOrd="4" destOrd="0" presId="urn:microsoft.com/office/officeart/2005/8/layout/hierarchy1"/>
    <dgm:cxn modelId="{096216C6-EC62-1646-9087-FBDA84085EBA}" type="presParOf" srcId="{D9C617D3-A9FE-1545-B41A-4AD35F559674}" destId="{C16EF800-D985-844B-989F-AA7F517B1525}" srcOrd="5" destOrd="0" presId="urn:microsoft.com/office/officeart/2005/8/layout/hierarchy1"/>
    <dgm:cxn modelId="{F7BC440A-9399-8D43-9965-29BB9FB8598D}" type="presParOf" srcId="{C16EF800-D985-844B-989F-AA7F517B1525}" destId="{96A1538C-643B-1C42-8D89-2214146C7E4A}" srcOrd="0" destOrd="0" presId="urn:microsoft.com/office/officeart/2005/8/layout/hierarchy1"/>
    <dgm:cxn modelId="{D57CAC57-0E2E-C647-87E0-32F953D2D4B0}" type="presParOf" srcId="{96A1538C-643B-1C42-8D89-2214146C7E4A}" destId="{2AB36511-AAD8-004E-A5BA-EBB68D85F619}" srcOrd="0" destOrd="0" presId="urn:microsoft.com/office/officeart/2005/8/layout/hierarchy1"/>
    <dgm:cxn modelId="{747C4B0F-B479-084C-B513-457AA89E6382}" type="presParOf" srcId="{96A1538C-643B-1C42-8D89-2214146C7E4A}" destId="{805252F1-943A-1D4B-9D69-86B092705AB5}" srcOrd="1" destOrd="0" presId="urn:microsoft.com/office/officeart/2005/8/layout/hierarchy1"/>
    <dgm:cxn modelId="{E28B2AEE-1215-2E47-8AF0-07616DF4A0C3}" type="presParOf" srcId="{C16EF800-D985-844B-989F-AA7F517B1525}" destId="{A4760D7B-F0FB-DF45-AF3B-918316282FEF}" srcOrd="1" destOrd="0" presId="urn:microsoft.com/office/officeart/2005/8/layout/hierarchy1"/>
    <dgm:cxn modelId="{FD5617E9-2603-D94F-A886-9309E64A9322}" type="presParOf" srcId="{A4760D7B-F0FB-DF45-AF3B-918316282FEF}" destId="{469F2AD0-F93D-064F-A722-5183C63907B9}" srcOrd="0" destOrd="0" presId="urn:microsoft.com/office/officeart/2005/8/layout/hierarchy1"/>
    <dgm:cxn modelId="{970AC74C-6435-3C44-8401-1AE4A9EE281F}" type="presParOf" srcId="{A4760D7B-F0FB-DF45-AF3B-918316282FEF}" destId="{FE14BB28-152E-EC4F-84AC-876087F31BC1}" srcOrd="1" destOrd="0" presId="urn:microsoft.com/office/officeart/2005/8/layout/hierarchy1"/>
    <dgm:cxn modelId="{FF86B18A-DA6C-8742-BAF2-68241CC88EBE}" type="presParOf" srcId="{FE14BB28-152E-EC4F-84AC-876087F31BC1}" destId="{55DF614D-0405-1B4A-B659-E3F2F8E79BBB}" srcOrd="0" destOrd="0" presId="urn:microsoft.com/office/officeart/2005/8/layout/hierarchy1"/>
    <dgm:cxn modelId="{AAC738D1-D851-2942-9DA9-4DB346B7A0FB}" type="presParOf" srcId="{55DF614D-0405-1B4A-B659-E3F2F8E79BBB}" destId="{5E6FDB3B-E728-B449-9FD0-C3FB0B549FB8}" srcOrd="0" destOrd="0" presId="urn:microsoft.com/office/officeart/2005/8/layout/hierarchy1"/>
    <dgm:cxn modelId="{9453DE4E-D0BF-0642-83BA-1711E5666E06}" type="presParOf" srcId="{55DF614D-0405-1B4A-B659-E3F2F8E79BBB}" destId="{E79F91F4-191E-7945-9998-14AA60B617D3}" srcOrd="1" destOrd="0" presId="urn:microsoft.com/office/officeart/2005/8/layout/hierarchy1"/>
    <dgm:cxn modelId="{D91C3514-4602-E44C-8C6F-BAE5D40940A9}" type="presParOf" srcId="{FE14BB28-152E-EC4F-84AC-876087F31BC1}" destId="{A0A6E0BE-3B16-9A49-8CDC-8F8151AD3008}" srcOrd="1" destOrd="0" presId="urn:microsoft.com/office/officeart/2005/8/layout/hierarchy1"/>
    <dgm:cxn modelId="{34376F8F-1367-F847-AB15-089C705D64F6}" type="presParOf" srcId="{A4760D7B-F0FB-DF45-AF3B-918316282FEF}" destId="{DA8A0597-7B4B-D94A-B4DB-F7AECFFB7C06}" srcOrd="2" destOrd="0" presId="urn:microsoft.com/office/officeart/2005/8/layout/hierarchy1"/>
    <dgm:cxn modelId="{949A02E1-0081-984C-8A02-CB9D8B08C694}" type="presParOf" srcId="{A4760D7B-F0FB-DF45-AF3B-918316282FEF}" destId="{944F14F1-C8D2-E34F-AA58-A671928E7568}" srcOrd="3" destOrd="0" presId="urn:microsoft.com/office/officeart/2005/8/layout/hierarchy1"/>
    <dgm:cxn modelId="{527FAABD-C5CA-3445-8367-88284091596F}" type="presParOf" srcId="{944F14F1-C8D2-E34F-AA58-A671928E7568}" destId="{349639B7-50A7-F64E-A61C-F18CF7DFA973}" srcOrd="0" destOrd="0" presId="urn:microsoft.com/office/officeart/2005/8/layout/hierarchy1"/>
    <dgm:cxn modelId="{41377560-E24B-7D4E-9645-4BFA900C2D0D}" type="presParOf" srcId="{349639B7-50A7-F64E-A61C-F18CF7DFA973}" destId="{607B1C25-8305-5943-9375-D877A4144D46}" srcOrd="0" destOrd="0" presId="urn:microsoft.com/office/officeart/2005/8/layout/hierarchy1"/>
    <dgm:cxn modelId="{D8408D66-229C-1B4A-87E3-B9A18FAEB928}" type="presParOf" srcId="{349639B7-50A7-F64E-A61C-F18CF7DFA973}" destId="{038960CE-3E76-AF48-8AE9-FA6E04D38AC3}" srcOrd="1" destOrd="0" presId="urn:microsoft.com/office/officeart/2005/8/layout/hierarchy1"/>
    <dgm:cxn modelId="{F75C3198-CB95-2E4E-A8FD-DB7836799881}" type="presParOf" srcId="{944F14F1-C8D2-E34F-AA58-A671928E7568}" destId="{38D1A641-B34A-1D40-A4DA-5F5FDDA6D221}" srcOrd="1" destOrd="0" presId="urn:microsoft.com/office/officeart/2005/8/layout/hierarchy1"/>
    <dgm:cxn modelId="{B0FAE684-CE1F-2D42-8445-BC7B1895405E}" type="presParOf" srcId="{D9C617D3-A9FE-1545-B41A-4AD35F559674}" destId="{8E668B2D-2CA2-A048-BDDE-80F9C5D3718A}" srcOrd="6" destOrd="0" presId="urn:microsoft.com/office/officeart/2005/8/layout/hierarchy1"/>
    <dgm:cxn modelId="{5F227C57-DCE7-D347-9286-968EAAEF1F13}" type="presParOf" srcId="{D9C617D3-A9FE-1545-B41A-4AD35F559674}" destId="{8B58D450-7DFA-A34C-B06A-E15291A3D3F2}" srcOrd="7" destOrd="0" presId="urn:microsoft.com/office/officeart/2005/8/layout/hierarchy1"/>
    <dgm:cxn modelId="{E014D8DF-D691-814C-8423-964C19283AAE}" type="presParOf" srcId="{8B58D450-7DFA-A34C-B06A-E15291A3D3F2}" destId="{D6FE51E1-87B1-C141-AAC4-6FE90E16C5A8}" srcOrd="0" destOrd="0" presId="urn:microsoft.com/office/officeart/2005/8/layout/hierarchy1"/>
    <dgm:cxn modelId="{2DDC3750-0DDD-8445-9FCF-6C84A5EC0050}" type="presParOf" srcId="{D6FE51E1-87B1-C141-AAC4-6FE90E16C5A8}" destId="{D03E4FC9-F0FF-F14D-902B-1051491F290A}" srcOrd="0" destOrd="0" presId="urn:microsoft.com/office/officeart/2005/8/layout/hierarchy1"/>
    <dgm:cxn modelId="{56523F63-A8B6-384B-AC0F-2F93BE424738}" type="presParOf" srcId="{D6FE51E1-87B1-C141-AAC4-6FE90E16C5A8}" destId="{4D203E00-9AEF-5841-8AB7-3D322CC00120}" srcOrd="1" destOrd="0" presId="urn:microsoft.com/office/officeart/2005/8/layout/hierarchy1"/>
    <dgm:cxn modelId="{6F217E6A-B451-4D41-AF7F-F6A7B42A8AE0}" type="presParOf" srcId="{8B58D450-7DFA-A34C-B06A-E15291A3D3F2}" destId="{077D4816-B3ED-904E-94CD-DAC0DCBB9361}" srcOrd="1" destOrd="0" presId="urn:microsoft.com/office/officeart/2005/8/layout/hierarchy1"/>
    <dgm:cxn modelId="{23D421E1-8900-7741-87E9-A1AE50DB7E5C}" type="presParOf" srcId="{D9C617D3-A9FE-1545-B41A-4AD35F559674}" destId="{03A6CAC0-9079-D147-81E2-9DF05C7C4B8F}" srcOrd="8" destOrd="0" presId="urn:microsoft.com/office/officeart/2005/8/layout/hierarchy1"/>
    <dgm:cxn modelId="{139CD93B-D067-1D4B-83A2-A1DA034027D6}" type="presParOf" srcId="{D9C617D3-A9FE-1545-B41A-4AD35F559674}" destId="{9D715358-7A02-CB4E-9475-417334231F29}" srcOrd="9" destOrd="0" presId="urn:microsoft.com/office/officeart/2005/8/layout/hierarchy1"/>
    <dgm:cxn modelId="{2051D2DD-301B-5648-95C8-B9BC02985B3B}" type="presParOf" srcId="{9D715358-7A02-CB4E-9475-417334231F29}" destId="{96CAD329-8B61-FE42-AD35-28A7FD702AA3}" srcOrd="0" destOrd="0" presId="urn:microsoft.com/office/officeart/2005/8/layout/hierarchy1"/>
    <dgm:cxn modelId="{280A170C-E82D-694C-9E2A-9891FBF48735}" type="presParOf" srcId="{96CAD329-8B61-FE42-AD35-28A7FD702AA3}" destId="{025894E3-A648-5242-A3C0-7EAC2A001FCC}" srcOrd="0" destOrd="0" presId="urn:microsoft.com/office/officeart/2005/8/layout/hierarchy1"/>
    <dgm:cxn modelId="{4C849613-46E1-D343-ABC9-C51E7AC7921F}" type="presParOf" srcId="{96CAD329-8B61-FE42-AD35-28A7FD702AA3}" destId="{3BE7867F-A653-5C44-8CF1-7ED8AEFFAC8D}" srcOrd="1" destOrd="0" presId="urn:microsoft.com/office/officeart/2005/8/layout/hierarchy1"/>
    <dgm:cxn modelId="{80EBACCF-0C52-E14B-BCFB-86D2AE160247}" type="presParOf" srcId="{9D715358-7A02-CB4E-9475-417334231F29}" destId="{76BF6D5B-8A7E-944B-9072-9B7ED29C1EC5}" srcOrd="1" destOrd="0" presId="urn:microsoft.com/office/officeart/2005/8/layout/hierarchy1"/>
    <dgm:cxn modelId="{497C94B8-C808-FE4C-ACC7-EED80EDB4F8C}" type="presParOf" srcId="{5B377F24-BF42-F841-AD43-70F796E4188D}" destId="{2C3C82AD-032B-AF4F-8E85-D4B6E9B226B3}" srcOrd="2" destOrd="0" presId="urn:microsoft.com/office/officeart/2005/8/layout/hierarchy1"/>
    <dgm:cxn modelId="{248108D6-79ED-4B46-8E21-692F0E11D35F}" type="presParOf" srcId="{5B377F24-BF42-F841-AD43-70F796E4188D}" destId="{ACAA45A0-3A34-1843-8A80-97C1623BD8A4}" srcOrd="3" destOrd="0" presId="urn:microsoft.com/office/officeart/2005/8/layout/hierarchy1"/>
    <dgm:cxn modelId="{7265B65F-261A-AD4E-8482-B231ECC47005}" type="presParOf" srcId="{ACAA45A0-3A34-1843-8A80-97C1623BD8A4}" destId="{A31245A6-C756-8D4D-9C6C-F66074AD75DA}" srcOrd="0" destOrd="0" presId="urn:microsoft.com/office/officeart/2005/8/layout/hierarchy1"/>
    <dgm:cxn modelId="{2F20F693-1FE2-D64D-9198-FF165AC78D7E}" type="presParOf" srcId="{A31245A6-C756-8D4D-9C6C-F66074AD75DA}" destId="{A1D5ED37-5F4B-FD47-835D-99F0047A7CB4}" srcOrd="0" destOrd="0" presId="urn:microsoft.com/office/officeart/2005/8/layout/hierarchy1"/>
    <dgm:cxn modelId="{4B0D014D-EF76-C340-AAB1-DAB0119464E7}" type="presParOf" srcId="{A31245A6-C756-8D4D-9C6C-F66074AD75DA}" destId="{CDEA9509-B499-424C-96B8-734413276BCE}" srcOrd="1" destOrd="0" presId="urn:microsoft.com/office/officeart/2005/8/layout/hierarchy1"/>
    <dgm:cxn modelId="{8760E635-B28D-0A4D-B75F-76FB12C45E54}" type="presParOf" srcId="{ACAA45A0-3A34-1843-8A80-97C1623BD8A4}" destId="{BF62B1AE-3734-F94C-8186-3B68CEB4D459}" srcOrd="1" destOrd="0" presId="urn:microsoft.com/office/officeart/2005/8/layout/hierarchy1"/>
    <dgm:cxn modelId="{0DB4D163-19C5-7443-AADF-EA6B0D916B59}" type="presParOf" srcId="{BF62B1AE-3734-F94C-8186-3B68CEB4D459}" destId="{5B70798D-C3A6-1946-84AF-BEFEA2479205}" srcOrd="0" destOrd="0" presId="urn:microsoft.com/office/officeart/2005/8/layout/hierarchy1"/>
    <dgm:cxn modelId="{19A37EB8-C8DF-DF44-8A5A-2A12D6951E86}" type="presParOf" srcId="{BF62B1AE-3734-F94C-8186-3B68CEB4D459}" destId="{B0F661A7-6FD3-3348-B04A-F89445AA867B}" srcOrd="1" destOrd="0" presId="urn:microsoft.com/office/officeart/2005/8/layout/hierarchy1"/>
    <dgm:cxn modelId="{D11B9F75-2CED-364C-8672-B8112F9819BE}" type="presParOf" srcId="{B0F661A7-6FD3-3348-B04A-F89445AA867B}" destId="{53D3061E-CF3D-7E4E-A14D-84B2D4B51332}" srcOrd="0" destOrd="0" presId="urn:microsoft.com/office/officeart/2005/8/layout/hierarchy1"/>
    <dgm:cxn modelId="{0BBFECC6-0623-474B-89D9-425AB8E5A429}" type="presParOf" srcId="{53D3061E-CF3D-7E4E-A14D-84B2D4B51332}" destId="{CC85ABB0-CF0D-414C-A508-180EF7460FF7}" srcOrd="0" destOrd="0" presId="urn:microsoft.com/office/officeart/2005/8/layout/hierarchy1"/>
    <dgm:cxn modelId="{0CB7CAE3-8967-E54D-BFED-A7F87259CD90}" type="presParOf" srcId="{53D3061E-CF3D-7E4E-A14D-84B2D4B51332}" destId="{68894350-48FC-5C49-9AC0-0472B7D6BED6}" srcOrd="1" destOrd="0" presId="urn:microsoft.com/office/officeart/2005/8/layout/hierarchy1"/>
    <dgm:cxn modelId="{A1DA9EEE-DA05-B242-B363-B05CDE7271C4}" type="presParOf" srcId="{B0F661A7-6FD3-3348-B04A-F89445AA867B}" destId="{0C3EEAD1-4662-2F42-A30A-8F9BD17B42C4}" srcOrd="1" destOrd="0" presId="urn:microsoft.com/office/officeart/2005/8/layout/hierarchy1"/>
    <dgm:cxn modelId="{68AE7A27-E2DA-FF4F-91AB-7E1B3E351843}" type="presParOf" srcId="{BF62B1AE-3734-F94C-8186-3B68CEB4D459}" destId="{2808DE55-9F8A-8848-A7E9-4A1EF0C750AD}" srcOrd="2" destOrd="0" presId="urn:microsoft.com/office/officeart/2005/8/layout/hierarchy1"/>
    <dgm:cxn modelId="{349092FA-A653-2340-9A36-7D8F9F4015FC}" type="presParOf" srcId="{BF62B1AE-3734-F94C-8186-3B68CEB4D459}" destId="{5B3C9380-9652-F646-8735-CDFBD3FFB414}" srcOrd="3" destOrd="0" presId="urn:microsoft.com/office/officeart/2005/8/layout/hierarchy1"/>
    <dgm:cxn modelId="{1179E469-E960-C844-BA38-0E46BE3C1E42}" type="presParOf" srcId="{5B3C9380-9652-F646-8735-CDFBD3FFB414}" destId="{80174B29-955C-CC49-9517-7AE4D1562436}" srcOrd="0" destOrd="0" presId="urn:microsoft.com/office/officeart/2005/8/layout/hierarchy1"/>
    <dgm:cxn modelId="{41089C2F-4A4E-C74E-B20C-B92E4BAAD7A2}" type="presParOf" srcId="{80174B29-955C-CC49-9517-7AE4D1562436}" destId="{010C2457-3415-2E4C-9AFB-24EFE7EE5034}" srcOrd="0" destOrd="0" presId="urn:microsoft.com/office/officeart/2005/8/layout/hierarchy1"/>
    <dgm:cxn modelId="{348678A6-9E7D-D141-A7BD-3430CBD5C6B7}" type="presParOf" srcId="{80174B29-955C-CC49-9517-7AE4D1562436}" destId="{DA32121B-EA4F-E843-8B95-EFE81D6F3E1D}" srcOrd="1" destOrd="0" presId="urn:microsoft.com/office/officeart/2005/8/layout/hierarchy1"/>
    <dgm:cxn modelId="{7EAF808A-215C-1A45-B157-33A7793AC07C}" type="presParOf" srcId="{5B3C9380-9652-F646-8735-CDFBD3FFB414}" destId="{DA4E6CF1-34AD-E440-B379-346D50A6B463}" srcOrd="1" destOrd="0" presId="urn:microsoft.com/office/officeart/2005/8/layout/hierarchy1"/>
    <dgm:cxn modelId="{F4030AFF-B675-5847-89BF-5B3605F5CDFA}" type="presParOf" srcId="{871F69FA-CEF6-6545-8F89-04325B1FED96}" destId="{9F7712C6-08F9-4B48-84E2-B74EAA68C245}" srcOrd="2" destOrd="0" presId="urn:microsoft.com/office/officeart/2005/8/layout/hierarchy1"/>
    <dgm:cxn modelId="{F8FA9E7A-7088-164A-A319-EB26FAB666F0}" type="presParOf" srcId="{871F69FA-CEF6-6545-8F89-04325B1FED96}" destId="{BEB3C365-3733-1C46-91CE-04973CD4519B}" srcOrd="3" destOrd="0" presId="urn:microsoft.com/office/officeart/2005/8/layout/hierarchy1"/>
    <dgm:cxn modelId="{E626D5B9-B4AD-C74C-B976-43EE559B7128}" type="presParOf" srcId="{BEB3C365-3733-1C46-91CE-04973CD4519B}" destId="{7082B32B-84CA-6843-A2FA-3DF71FC76CE4}" srcOrd="0" destOrd="0" presId="urn:microsoft.com/office/officeart/2005/8/layout/hierarchy1"/>
    <dgm:cxn modelId="{08B8105F-1E90-AE46-84D7-1ADBBB9FA596}" type="presParOf" srcId="{7082B32B-84CA-6843-A2FA-3DF71FC76CE4}" destId="{68FB325A-3F6B-E348-9FBC-75B9545F0906}" srcOrd="0" destOrd="0" presId="urn:microsoft.com/office/officeart/2005/8/layout/hierarchy1"/>
    <dgm:cxn modelId="{07B37201-664E-7E48-9083-D51E654F4BF2}" type="presParOf" srcId="{7082B32B-84CA-6843-A2FA-3DF71FC76CE4}" destId="{376FAB02-2D88-724C-BD4D-D0F027D4CE18}" srcOrd="1" destOrd="0" presId="urn:microsoft.com/office/officeart/2005/8/layout/hierarchy1"/>
    <dgm:cxn modelId="{E26CA2DC-6C5B-B44A-917F-9328CD2FD3D9}" type="presParOf" srcId="{BEB3C365-3733-1C46-91CE-04973CD4519B}" destId="{AFAADD78-18C6-7245-B8E2-0A584FB37957}" srcOrd="1" destOrd="0" presId="urn:microsoft.com/office/officeart/2005/8/layout/hierarchy1"/>
    <dgm:cxn modelId="{6941EE71-CF0B-1D41-8AAE-69A717CACAF7}" type="presParOf" srcId="{AFAADD78-18C6-7245-B8E2-0A584FB37957}" destId="{AD3FFF2F-6B51-AF4A-AB73-903B3C3CCCA1}" srcOrd="0" destOrd="0" presId="urn:microsoft.com/office/officeart/2005/8/layout/hierarchy1"/>
    <dgm:cxn modelId="{B46E90B3-7BDF-B245-ABE9-8F3CC473C567}" type="presParOf" srcId="{AFAADD78-18C6-7245-B8E2-0A584FB37957}" destId="{CD156389-C268-9E44-ACB4-BC4DD2D94D65}" srcOrd="1" destOrd="0" presId="urn:microsoft.com/office/officeart/2005/8/layout/hierarchy1"/>
    <dgm:cxn modelId="{E982C19E-02D4-B441-BC66-0D31D1D44217}" type="presParOf" srcId="{CD156389-C268-9E44-ACB4-BC4DD2D94D65}" destId="{176D97EA-A536-3C43-BA85-28D1B67A5DEA}" srcOrd="0" destOrd="0" presId="urn:microsoft.com/office/officeart/2005/8/layout/hierarchy1"/>
    <dgm:cxn modelId="{D07F6D18-A6F9-1241-AA7B-D4F9EB52EA05}" type="presParOf" srcId="{176D97EA-A536-3C43-BA85-28D1B67A5DEA}" destId="{5A2C1499-0767-134C-B493-46E95A3FD5F8}" srcOrd="0" destOrd="0" presId="urn:microsoft.com/office/officeart/2005/8/layout/hierarchy1"/>
    <dgm:cxn modelId="{87A57B94-1573-1F40-A01D-F1A7D49D88C8}" type="presParOf" srcId="{176D97EA-A536-3C43-BA85-28D1B67A5DEA}" destId="{6B3679A0-56B0-044B-9758-A44F5F9979A2}" srcOrd="1" destOrd="0" presId="urn:microsoft.com/office/officeart/2005/8/layout/hierarchy1"/>
    <dgm:cxn modelId="{A828B4B1-BEE8-8745-AF24-A26595733DFE}" type="presParOf" srcId="{CD156389-C268-9E44-ACB4-BC4DD2D94D65}" destId="{A41E621B-0883-9344-9A4E-344A065F87D0}" srcOrd="1" destOrd="0" presId="urn:microsoft.com/office/officeart/2005/8/layout/hierarchy1"/>
    <dgm:cxn modelId="{9314A756-66E1-8F40-8CB2-F8FE2FB5F7F4}" type="presParOf" srcId="{AFAADD78-18C6-7245-B8E2-0A584FB37957}" destId="{3CBDE771-8F56-3C48-811A-67A777BFE577}" srcOrd="2" destOrd="0" presId="urn:microsoft.com/office/officeart/2005/8/layout/hierarchy1"/>
    <dgm:cxn modelId="{43AF5855-2EE2-B144-ABEF-B45D25C44F67}" type="presParOf" srcId="{AFAADD78-18C6-7245-B8E2-0A584FB37957}" destId="{273BD6A0-135B-5A41-AF2D-B2D3661B3F51}" srcOrd="3" destOrd="0" presId="urn:microsoft.com/office/officeart/2005/8/layout/hierarchy1"/>
    <dgm:cxn modelId="{6EC493C3-5A76-104A-ACCA-C8B01E60B1C9}" type="presParOf" srcId="{273BD6A0-135B-5A41-AF2D-B2D3661B3F51}" destId="{16C6572D-E036-404E-AC83-CD186CDCA67D}" srcOrd="0" destOrd="0" presId="urn:microsoft.com/office/officeart/2005/8/layout/hierarchy1"/>
    <dgm:cxn modelId="{2321B4A0-F284-4540-ACA2-968FC851A4F1}" type="presParOf" srcId="{16C6572D-E036-404E-AC83-CD186CDCA67D}" destId="{512F3FF9-7E38-C142-BEAB-2ED049C46850}" srcOrd="0" destOrd="0" presId="urn:microsoft.com/office/officeart/2005/8/layout/hierarchy1"/>
    <dgm:cxn modelId="{E777B48C-A83A-A243-9705-D69FC8B1AB2A}" type="presParOf" srcId="{16C6572D-E036-404E-AC83-CD186CDCA67D}" destId="{EDEB1C70-4FE5-AA47-A82A-51DB412D401E}" srcOrd="1" destOrd="0" presId="urn:microsoft.com/office/officeart/2005/8/layout/hierarchy1"/>
    <dgm:cxn modelId="{C007829D-1DBB-9C4B-B355-9DD0EBD0E94D}" type="presParOf" srcId="{273BD6A0-135B-5A41-AF2D-B2D3661B3F51}" destId="{1A6A7BD9-69B1-3C4E-9163-23129D332400}" srcOrd="1" destOrd="0" presId="urn:microsoft.com/office/officeart/2005/8/layout/hierarchy1"/>
    <dgm:cxn modelId="{624E5B39-00E7-9F4B-8FCE-F6E86BB69521}" type="presParOf" srcId="{1A6A7BD9-69B1-3C4E-9163-23129D332400}" destId="{E42BD201-0F7A-1846-BDB9-F0F91193CE4C}" srcOrd="0" destOrd="0" presId="urn:microsoft.com/office/officeart/2005/8/layout/hierarchy1"/>
    <dgm:cxn modelId="{F38B408A-C657-D140-8B60-30217990E307}" type="presParOf" srcId="{1A6A7BD9-69B1-3C4E-9163-23129D332400}" destId="{1FF10E6E-080C-D148-B5E4-C0E3FD1BAB79}" srcOrd="1" destOrd="0" presId="urn:microsoft.com/office/officeart/2005/8/layout/hierarchy1"/>
    <dgm:cxn modelId="{F590A4C8-9960-9A40-9DEC-B5D6FA92C416}" type="presParOf" srcId="{1FF10E6E-080C-D148-B5E4-C0E3FD1BAB79}" destId="{72D9F838-8637-444B-8EF7-F8118BA4D411}" srcOrd="0" destOrd="0" presId="urn:microsoft.com/office/officeart/2005/8/layout/hierarchy1"/>
    <dgm:cxn modelId="{BA6E5688-4B15-D14F-BD48-54A01C9DA763}" type="presParOf" srcId="{72D9F838-8637-444B-8EF7-F8118BA4D411}" destId="{FED53FBA-B97A-5449-84EA-00CF62F7A15B}" srcOrd="0" destOrd="0" presId="urn:microsoft.com/office/officeart/2005/8/layout/hierarchy1"/>
    <dgm:cxn modelId="{4308BCE2-35EA-9848-B5B2-0FEE8441FDA1}" type="presParOf" srcId="{72D9F838-8637-444B-8EF7-F8118BA4D411}" destId="{9ED0A673-9EA6-7D42-A88E-5AA0783203C6}" srcOrd="1" destOrd="0" presId="urn:microsoft.com/office/officeart/2005/8/layout/hierarchy1"/>
    <dgm:cxn modelId="{050CEE95-4EE3-664E-8933-4DDF374C8003}" type="presParOf" srcId="{1FF10E6E-080C-D148-B5E4-C0E3FD1BAB79}" destId="{7CEAFDB3-1640-6943-BA2C-072B4193E905}" srcOrd="1" destOrd="0" presId="urn:microsoft.com/office/officeart/2005/8/layout/hierarchy1"/>
    <dgm:cxn modelId="{A51FDEA4-DB08-824B-9AAD-CC84F9430A41}" type="presParOf" srcId="{1A6A7BD9-69B1-3C4E-9163-23129D332400}" destId="{E1883D82-18C2-4949-A771-0EBF108BDF3F}" srcOrd="2" destOrd="0" presId="urn:microsoft.com/office/officeart/2005/8/layout/hierarchy1"/>
    <dgm:cxn modelId="{FEBE6410-84C2-EB4E-B9F6-5F21C12F41F4}" type="presParOf" srcId="{1A6A7BD9-69B1-3C4E-9163-23129D332400}" destId="{A34B31CC-ECC8-5D47-99C6-CA4F3BB80FA2}" srcOrd="3" destOrd="0" presId="urn:microsoft.com/office/officeart/2005/8/layout/hierarchy1"/>
    <dgm:cxn modelId="{8D7A4971-C481-8B4D-8CBA-803C4296160C}" type="presParOf" srcId="{A34B31CC-ECC8-5D47-99C6-CA4F3BB80FA2}" destId="{77919C79-1177-FD46-BBE0-EB4C86E958F2}" srcOrd="0" destOrd="0" presId="urn:microsoft.com/office/officeart/2005/8/layout/hierarchy1"/>
    <dgm:cxn modelId="{011AD0F1-AF8E-214E-A895-213724F78D7A}" type="presParOf" srcId="{77919C79-1177-FD46-BBE0-EB4C86E958F2}" destId="{31751CC0-40E7-9049-820E-F362FB897E49}" srcOrd="0" destOrd="0" presId="urn:microsoft.com/office/officeart/2005/8/layout/hierarchy1"/>
    <dgm:cxn modelId="{5E26A497-4E63-9D4C-80E6-73FB927C8A34}" type="presParOf" srcId="{77919C79-1177-FD46-BBE0-EB4C86E958F2}" destId="{9AAD32A6-F071-CE49-89D5-26B4317FAA8E}" srcOrd="1" destOrd="0" presId="urn:microsoft.com/office/officeart/2005/8/layout/hierarchy1"/>
    <dgm:cxn modelId="{DA4308AD-324F-E845-A22A-BB007D5BB93F}" type="presParOf" srcId="{A34B31CC-ECC8-5D47-99C6-CA4F3BB80FA2}" destId="{3D176AA8-14D5-C94B-AFE8-9396E200CDCD}" srcOrd="1" destOrd="0" presId="urn:microsoft.com/office/officeart/2005/8/layout/hierarchy1"/>
  </dgm:cxnLst>
  <dgm:bg>
    <a:solidFill>
      <a:schemeClr val="bg1"/>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D2DC9C9-CCF8-6D47-A8AF-7E8440F609A2}" type="doc">
      <dgm:prSet loTypeId="urn:microsoft.com/office/officeart/2005/8/layout/hierarchy1" loCatId="" qsTypeId="urn:microsoft.com/office/officeart/2005/8/quickstyle/3D4" qsCatId="3D" csTypeId="urn:microsoft.com/office/officeart/2005/8/colors/accent1_2" csCatId="accent1" phldr="1"/>
      <dgm:spPr/>
      <dgm:t>
        <a:bodyPr/>
        <a:lstStyle/>
        <a:p>
          <a:endParaRPr lang="en-US"/>
        </a:p>
      </dgm:t>
    </dgm:pt>
    <dgm:pt modelId="{64E098E7-3449-7B4A-9C43-71094416E9F9}">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Visitors</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65A1ABA7-846E-0541-A9D1-91CDFBFE348C}" type="parTrans" cxnId="{2CDA6B23-63A5-ED42-A69B-C61C897D1F5A}">
      <dgm:prSet/>
      <dgm:spPr/>
      <dgm:t>
        <a:bodyPr/>
        <a:lstStyle/>
        <a:p>
          <a:endParaRPr lang="en-US" b="1"/>
        </a:p>
      </dgm:t>
    </dgm:pt>
    <dgm:pt modelId="{B0E388CE-4E12-894E-9726-3848FA299C3B}" type="sibTrans" cxnId="{2CDA6B23-63A5-ED42-A69B-C61C897D1F5A}">
      <dgm:prSet/>
      <dgm:spPr/>
      <dgm:t>
        <a:bodyPr/>
        <a:lstStyle/>
        <a:p>
          <a:endParaRPr lang="en-US" b="1"/>
        </a:p>
      </dgm:t>
    </dgm:pt>
    <dgm:pt modelId="{D442C324-979C-3840-AA5A-AA0636E387F7}">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Revenue</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F405F5A3-0A03-1043-8B4C-C8712E0CE354}" type="parTrans" cxnId="{6BF25AB5-2F0F-C84E-8FFB-9A57FFBF7B3C}">
      <dgm:prSet/>
      <dgm:spPr/>
      <dgm:t>
        <a:bodyPr/>
        <a:lstStyle/>
        <a:p>
          <a:endParaRPr lang="en-US"/>
        </a:p>
      </dgm:t>
    </dgm:pt>
    <dgm:pt modelId="{8A89DF82-C8BA-8D45-A9B9-A6D6DB1BD6B6}" type="sibTrans" cxnId="{6BF25AB5-2F0F-C84E-8FFB-9A57FFBF7B3C}">
      <dgm:prSet/>
      <dgm:spPr/>
      <dgm:t>
        <a:bodyPr/>
        <a:lstStyle/>
        <a:p>
          <a:endParaRPr lang="en-US"/>
        </a:p>
      </dgm:t>
    </dgm:pt>
    <dgm:pt modelId="{5C8678DF-13AC-4A49-BF8D-63E044418B90}">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Active Users</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0AB7B2FE-FF3F-B04E-AAFA-84BC4B4D4054}" type="parTrans" cxnId="{02EA2F84-32BB-8747-B1EC-66D13979BF14}">
      <dgm:prSet/>
      <dgm:spPr/>
      <dgm:t>
        <a:bodyPr/>
        <a:lstStyle/>
        <a:p>
          <a:endParaRPr lang="en-US"/>
        </a:p>
      </dgm:t>
    </dgm:pt>
    <dgm:pt modelId="{E9D1044A-C224-FE45-B1A0-E732735C19E0}" type="sibTrans" cxnId="{02EA2F84-32BB-8747-B1EC-66D13979BF14}">
      <dgm:prSet/>
      <dgm:spPr/>
      <dgm:t>
        <a:bodyPr/>
        <a:lstStyle/>
        <a:p>
          <a:endParaRPr lang="en-US"/>
        </a:p>
      </dgm:t>
    </dgm:pt>
    <dgm:pt modelId="{791C91B1-69DB-B342-89AC-C1FFA75CEEA8}">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Revenue Per Users</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B5989DB7-93DA-3042-A4BC-2D978523631A}" type="parTrans" cxnId="{2E7238CA-7E3F-0942-89F3-0B6903D73B3E}">
      <dgm:prSet/>
      <dgm:spPr/>
      <dgm:t>
        <a:bodyPr/>
        <a:lstStyle/>
        <a:p>
          <a:endParaRPr lang="en-US"/>
        </a:p>
      </dgm:t>
    </dgm:pt>
    <dgm:pt modelId="{6E82CB1A-786E-5947-9EC8-3AD738406F12}" type="sibTrans" cxnId="{2E7238CA-7E3F-0942-89F3-0B6903D73B3E}">
      <dgm:prSet/>
      <dgm:spPr/>
      <dgm:t>
        <a:bodyPr/>
        <a:lstStyle/>
        <a:p>
          <a:endParaRPr lang="en-US"/>
        </a:p>
      </dgm:t>
    </dgm:pt>
    <dgm:pt modelId="{A213D281-6091-EA4D-A10F-78162259C24C}">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Customers</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330375B1-F2A9-2A4F-B144-A18FF959BC35}" type="parTrans" cxnId="{CF8E2F2D-7058-D74A-B99F-9D5C72D61FEA}">
      <dgm:prSet/>
      <dgm:spPr/>
      <dgm:t>
        <a:bodyPr/>
        <a:lstStyle/>
        <a:p>
          <a:endParaRPr lang="en-US"/>
        </a:p>
      </dgm:t>
    </dgm:pt>
    <dgm:pt modelId="{B0FE76BD-96DC-7342-8BDE-88EA8E915815}" type="sibTrans" cxnId="{CF8E2F2D-7058-D74A-B99F-9D5C72D61FEA}">
      <dgm:prSet/>
      <dgm:spPr/>
      <dgm:t>
        <a:bodyPr/>
        <a:lstStyle/>
        <a:p>
          <a:endParaRPr lang="en-US"/>
        </a:p>
      </dgm:t>
    </dgm:pt>
    <dgm:pt modelId="{6B137036-E8E5-014A-8BE0-29F5C4726E32}">
      <dgm:prSet phldrT="[Text]"/>
      <dgm:spPr>
        <a:solidFill>
          <a:schemeClr val="accent1">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Stock Trading</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851F8F58-3751-A14F-BDFB-DDFEB23CDECE}" type="parTrans" cxnId="{4EF90144-D68B-634B-B56E-B82BCC611447}">
      <dgm:prSet/>
      <dgm:spPr/>
      <dgm:t>
        <a:bodyPr/>
        <a:lstStyle/>
        <a:p>
          <a:endParaRPr lang="en-US"/>
        </a:p>
      </dgm:t>
    </dgm:pt>
    <dgm:pt modelId="{0D49753B-675D-A64B-9DF7-63BBAB9A725D}" type="sibTrans" cxnId="{4EF90144-D68B-634B-B56E-B82BCC611447}">
      <dgm:prSet/>
      <dgm:spPr/>
      <dgm:t>
        <a:bodyPr/>
        <a:lstStyle/>
        <a:p>
          <a:endParaRPr lang="en-US"/>
        </a:p>
      </dgm:t>
    </dgm:pt>
    <dgm:pt modelId="{4A1D6B3A-2293-6245-A8A3-1320CD263F8D}">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Pensions</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7CFB8F03-51A8-FF42-BCC1-3A6EC510A734}" type="parTrans" cxnId="{DEC529D8-623B-3B4A-97B0-8B0394751F16}">
      <dgm:prSet/>
      <dgm:spPr/>
      <dgm:t>
        <a:bodyPr/>
        <a:lstStyle/>
        <a:p>
          <a:endParaRPr lang="en-US"/>
        </a:p>
      </dgm:t>
    </dgm:pt>
    <dgm:pt modelId="{D7ABD4B0-C71A-B14E-A033-1E30C36F59C5}" type="sibTrans" cxnId="{DEC529D8-623B-3B4A-97B0-8B0394751F16}">
      <dgm:prSet/>
      <dgm:spPr/>
      <dgm:t>
        <a:bodyPr/>
        <a:lstStyle/>
        <a:p>
          <a:endParaRPr lang="en-US"/>
        </a:p>
      </dgm:t>
    </dgm:pt>
    <dgm:pt modelId="{69FD27CC-EC24-9246-8D3F-40082C413C88}">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Online Banking</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C632F9BF-DFEF-DE4C-9A2F-5B240D13D05B}" type="parTrans" cxnId="{6992DBE2-FA78-2F44-9FCE-17DD7B76EF1B}">
      <dgm:prSet/>
      <dgm:spPr/>
      <dgm:t>
        <a:bodyPr/>
        <a:lstStyle/>
        <a:p>
          <a:endParaRPr lang="en-US"/>
        </a:p>
      </dgm:t>
    </dgm:pt>
    <dgm:pt modelId="{C3C91D8C-0B61-C74C-B37B-0107C8DAFD50}" type="sibTrans" cxnId="{6992DBE2-FA78-2F44-9FCE-17DD7B76EF1B}">
      <dgm:prSet/>
      <dgm:spPr/>
      <dgm:t>
        <a:bodyPr/>
        <a:lstStyle/>
        <a:p>
          <a:endParaRPr lang="en-US"/>
        </a:p>
      </dgm:t>
    </dgm:pt>
    <dgm:pt modelId="{1C862158-E375-264D-9841-C32252747292}">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Commission Rate</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6D3EAF21-017B-7E47-BA73-C540D28819FB}" type="parTrans" cxnId="{8CCB280B-05FD-564A-B493-DA8B130C989B}">
      <dgm:prSet/>
      <dgm:spPr/>
      <dgm:t>
        <a:bodyPr/>
        <a:lstStyle/>
        <a:p>
          <a:endParaRPr lang="en-US"/>
        </a:p>
      </dgm:t>
    </dgm:pt>
    <dgm:pt modelId="{D147419F-A8DF-D947-A86E-CEEEB7B239F8}" type="sibTrans" cxnId="{8CCB280B-05FD-564A-B493-DA8B130C989B}">
      <dgm:prSet/>
      <dgm:spPr/>
      <dgm:t>
        <a:bodyPr/>
        <a:lstStyle/>
        <a:p>
          <a:endParaRPr lang="en-US"/>
        </a:p>
      </dgm:t>
    </dgm:pt>
    <dgm:pt modelId="{518B459C-2312-B04F-BF42-97146ED51F86}">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Deal Size</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F3DDBC59-45F0-8F4A-ABE6-2BABCA0324CE}" type="parTrans" cxnId="{952FAF47-D97A-154E-B3A1-F1EBCF05DEBC}">
      <dgm:prSet/>
      <dgm:spPr/>
      <dgm:t>
        <a:bodyPr/>
        <a:lstStyle/>
        <a:p>
          <a:endParaRPr lang="en-US"/>
        </a:p>
      </dgm:t>
    </dgm:pt>
    <dgm:pt modelId="{32EEE1F0-F994-1B42-A26D-31486E63E60F}" type="sibTrans" cxnId="{952FAF47-D97A-154E-B3A1-F1EBCF05DEBC}">
      <dgm:prSet/>
      <dgm:spPr/>
      <dgm:t>
        <a:bodyPr/>
        <a:lstStyle/>
        <a:p>
          <a:endParaRPr lang="en-US"/>
        </a:p>
      </dgm:t>
    </dgm:pt>
    <dgm:pt modelId="{F99A6EDB-36E5-DD4A-AEF6-72CBB67FBD7A}">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Interest Rate</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8E9190C9-4F4D-254D-8BA8-808D712D5313}" type="parTrans" cxnId="{890C57FF-C298-FF48-AD9C-025CADD25C0E}">
      <dgm:prSet/>
      <dgm:spPr/>
      <dgm:t>
        <a:bodyPr/>
        <a:lstStyle/>
        <a:p>
          <a:endParaRPr lang="en-US"/>
        </a:p>
      </dgm:t>
    </dgm:pt>
    <dgm:pt modelId="{314CC64C-2F09-8742-B9AA-CDB4E73AB590}" type="sibTrans" cxnId="{890C57FF-C298-FF48-AD9C-025CADD25C0E}">
      <dgm:prSet/>
      <dgm:spPr/>
      <dgm:t>
        <a:bodyPr/>
        <a:lstStyle/>
        <a:p>
          <a:endParaRPr lang="en-US"/>
        </a:p>
      </dgm:t>
    </dgm:pt>
    <dgm:pt modelId="{4ACE3004-015E-7842-BEB2-CB8D97C58C73}">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Fund Size</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432443D9-7412-D84B-9DE5-EF1CFD65003A}" type="parTrans" cxnId="{C4D068E3-E8FA-514A-B0F0-339B3C1C4A24}">
      <dgm:prSet/>
      <dgm:spPr/>
      <dgm:t>
        <a:bodyPr/>
        <a:lstStyle/>
        <a:p>
          <a:endParaRPr lang="en-US"/>
        </a:p>
      </dgm:t>
    </dgm:pt>
    <dgm:pt modelId="{C3131FAE-7AAF-8F41-A70B-BBC438B046F5}" type="sibTrans" cxnId="{C4D068E3-E8FA-514A-B0F0-339B3C1C4A24}">
      <dgm:prSet/>
      <dgm:spPr/>
      <dgm:t>
        <a:bodyPr/>
        <a:lstStyle/>
        <a:p>
          <a:endParaRPr lang="en-US"/>
        </a:p>
      </dgm:t>
    </dgm:pt>
    <dgm:pt modelId="{B9C7D2AD-9F44-2C44-A77E-72058D5F126A}">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Average Order Value</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12E3A000-6135-A44D-87CE-65F17A86258F}" type="parTrans" cxnId="{52F17766-1767-1F4A-8DD7-E4095204A614}">
      <dgm:prSet/>
      <dgm:spPr/>
      <dgm:t>
        <a:bodyPr/>
        <a:lstStyle/>
        <a:p>
          <a:endParaRPr lang="en-US"/>
        </a:p>
      </dgm:t>
    </dgm:pt>
    <dgm:pt modelId="{360A7630-D025-2A46-A283-FA2E0119F89F}" type="sibTrans" cxnId="{52F17766-1767-1F4A-8DD7-E4095204A614}">
      <dgm:prSet/>
      <dgm:spPr/>
      <dgm:t>
        <a:bodyPr/>
        <a:lstStyle/>
        <a:p>
          <a:endParaRPr lang="en-US"/>
        </a:p>
      </dgm:t>
    </dgm:pt>
    <dgm:pt modelId="{C9411090-2839-EE4E-B79C-8B360B2F252E}">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Transaction Fee</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1E1182A3-DF48-0743-B5BE-997642EF78FC}" type="parTrans" cxnId="{E1F59A07-343F-794C-8CD8-CB7C0DEA12F8}">
      <dgm:prSet/>
      <dgm:spPr/>
      <dgm:t>
        <a:bodyPr/>
        <a:lstStyle/>
        <a:p>
          <a:endParaRPr lang="en-US"/>
        </a:p>
      </dgm:t>
    </dgm:pt>
    <dgm:pt modelId="{23E6479D-DD94-B947-86F4-FD7391F332CA}" type="sibTrans" cxnId="{E1F59A07-343F-794C-8CD8-CB7C0DEA12F8}">
      <dgm:prSet/>
      <dgm:spPr/>
      <dgm:t>
        <a:bodyPr/>
        <a:lstStyle/>
        <a:p>
          <a:endParaRPr lang="en-US"/>
        </a:p>
      </dgm:t>
    </dgm:pt>
    <dgm:pt modelId="{D8B2B4EE-906D-C341-A027-9DB13B56327C}">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 of Transactions</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D26D9B7E-21CB-9C44-90C1-96D203183AF5}" type="parTrans" cxnId="{685B9831-ACC2-D045-9EEE-177B9E362E38}">
      <dgm:prSet/>
      <dgm:spPr/>
      <dgm:t>
        <a:bodyPr/>
        <a:lstStyle/>
        <a:p>
          <a:endParaRPr lang="en-US"/>
        </a:p>
      </dgm:t>
    </dgm:pt>
    <dgm:pt modelId="{144E7033-5AE8-414C-B6CA-A80842044DC2}" type="sibTrans" cxnId="{685B9831-ACC2-D045-9EEE-177B9E362E38}">
      <dgm:prSet/>
      <dgm:spPr/>
      <dgm:t>
        <a:bodyPr/>
        <a:lstStyle/>
        <a:p>
          <a:endParaRPr lang="en-US"/>
        </a:p>
      </dgm:t>
    </dgm:pt>
    <dgm:pt modelId="{047BEFCE-50D7-C84C-B462-8717C61EB84C}">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Active Users</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7EFEC927-64C6-7648-AB5F-361DD3FC9D49}" type="parTrans" cxnId="{30099105-8494-A14A-B5AA-4FE7DBF4993D}">
      <dgm:prSet/>
      <dgm:spPr/>
      <dgm:t>
        <a:bodyPr/>
        <a:lstStyle/>
        <a:p>
          <a:endParaRPr lang="en-US"/>
        </a:p>
      </dgm:t>
    </dgm:pt>
    <dgm:pt modelId="{D431D5CB-408A-1C4D-87B1-645BF4B22EB4}" type="sibTrans" cxnId="{30099105-8494-A14A-B5AA-4FE7DBF4993D}">
      <dgm:prSet/>
      <dgm:spPr/>
      <dgm:t>
        <a:bodyPr/>
        <a:lstStyle/>
        <a:p>
          <a:endParaRPr lang="en-US"/>
        </a:p>
      </dgm:t>
    </dgm:pt>
    <dgm:pt modelId="{44F264E4-5357-124A-ADA4-F4F9626FADB2}">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User </a:t>
          </a:r>
          <a:r>
            <a:rPr lang="en-US" b="1" dirty="0" err="1" smtClean="0">
              <a:solidFill>
                <a:schemeClr val="accent1">
                  <a:lumMod val="50000"/>
                </a:schemeClr>
              </a:solidFill>
              <a:effectLst>
                <a:outerShdw blurRad="50800" dist="38100" dir="2700000" algn="tl" rotWithShape="0">
                  <a:prstClr val="black">
                    <a:alpha val="40000"/>
                  </a:prstClr>
                </a:outerShdw>
              </a:effectLst>
            </a:rPr>
            <a:t>Acqusition</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2265F63D-4DD8-7E46-B108-53EFCFA805F7}" type="parTrans" cxnId="{C6F89465-BFB9-2049-B004-B2C07F8A1F00}">
      <dgm:prSet/>
      <dgm:spPr/>
      <dgm:t>
        <a:bodyPr/>
        <a:lstStyle/>
        <a:p>
          <a:endParaRPr lang="en-US"/>
        </a:p>
      </dgm:t>
    </dgm:pt>
    <dgm:pt modelId="{439F54FF-DC8A-7246-B916-1E2B707B5F4F}" type="sibTrans" cxnId="{C6F89465-BFB9-2049-B004-B2C07F8A1F00}">
      <dgm:prSet/>
      <dgm:spPr/>
      <dgm:t>
        <a:bodyPr/>
        <a:lstStyle/>
        <a:p>
          <a:endParaRPr lang="en-US"/>
        </a:p>
      </dgm:t>
    </dgm:pt>
    <dgm:pt modelId="{51CB60C3-4A34-2442-BD37-A144FB8A9F1A}">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Customer Conversion Rate</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397C09B5-F89D-294F-9FDE-9F77487A494F}" type="parTrans" cxnId="{A926B72B-0788-1741-A263-497D9BD313C3}">
      <dgm:prSet/>
      <dgm:spPr/>
      <dgm:t>
        <a:bodyPr/>
        <a:lstStyle/>
        <a:p>
          <a:endParaRPr lang="en-US"/>
        </a:p>
      </dgm:t>
    </dgm:pt>
    <dgm:pt modelId="{24811B09-4508-CB42-BA63-AAA9EDF3B0B3}" type="sibTrans" cxnId="{A926B72B-0788-1741-A263-497D9BD313C3}">
      <dgm:prSet/>
      <dgm:spPr/>
      <dgm:t>
        <a:bodyPr/>
        <a:lstStyle/>
        <a:p>
          <a:endParaRPr lang="en-US"/>
        </a:p>
      </dgm:t>
    </dgm:pt>
    <dgm:pt modelId="{09334077-B33A-824F-A986-64CC8F7EA3F9}">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Retention</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23286887-DE94-594E-8B13-A7AFEC8CB46C}" type="parTrans" cxnId="{3F660F59-8FBC-4749-8ED5-5AE85B9D95BB}">
      <dgm:prSet/>
      <dgm:spPr/>
      <dgm:t>
        <a:bodyPr/>
        <a:lstStyle/>
        <a:p>
          <a:endParaRPr lang="en-US"/>
        </a:p>
      </dgm:t>
    </dgm:pt>
    <dgm:pt modelId="{EDCCD6E1-13B9-F04D-AAC1-3569F31129A5}" type="sibTrans" cxnId="{3F660F59-8FBC-4749-8ED5-5AE85B9D95BB}">
      <dgm:prSet/>
      <dgm:spPr/>
      <dgm:t>
        <a:bodyPr/>
        <a:lstStyle/>
        <a:p>
          <a:endParaRPr lang="en-US"/>
        </a:p>
      </dgm:t>
    </dgm:pt>
    <dgm:pt modelId="{3A81C10D-86F2-9546-961D-4377C4FA28FA}">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Feature Adoption</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72F610BF-2C4B-1E42-A38D-AB45765DC3B7}" type="parTrans" cxnId="{B372126B-DAAD-8D46-BA32-10C0704BB940}">
      <dgm:prSet/>
      <dgm:spPr/>
      <dgm:t>
        <a:bodyPr/>
        <a:lstStyle/>
        <a:p>
          <a:endParaRPr lang="en-US"/>
        </a:p>
      </dgm:t>
    </dgm:pt>
    <dgm:pt modelId="{B3A88412-A06C-4349-B6FA-7D9819E2D3F5}" type="sibTrans" cxnId="{B372126B-DAAD-8D46-BA32-10C0704BB940}">
      <dgm:prSet/>
      <dgm:spPr/>
      <dgm:t>
        <a:bodyPr/>
        <a:lstStyle/>
        <a:p>
          <a:endParaRPr lang="en-US"/>
        </a:p>
      </dgm:t>
    </dgm:pt>
    <dgm:pt modelId="{2C534A71-570E-414F-9921-29437FD0A61B}">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Retention</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92BBA5FD-43B9-D44E-A41E-A077751E7D6B}" type="parTrans" cxnId="{A623CC63-951E-EB43-B7FD-EF73ABEAC765}">
      <dgm:prSet/>
      <dgm:spPr/>
      <dgm:t>
        <a:bodyPr/>
        <a:lstStyle/>
        <a:p>
          <a:endParaRPr lang="en-US"/>
        </a:p>
      </dgm:t>
    </dgm:pt>
    <dgm:pt modelId="{0EC9DFC6-0C11-AD4B-B3DB-8A9AD34D8345}" type="sibTrans" cxnId="{A623CC63-951E-EB43-B7FD-EF73ABEAC765}">
      <dgm:prSet/>
      <dgm:spPr/>
      <dgm:t>
        <a:bodyPr/>
        <a:lstStyle/>
        <a:p>
          <a:endParaRPr lang="en-US"/>
        </a:p>
      </dgm:t>
    </dgm:pt>
    <dgm:pt modelId="{1DFA0526-D1AE-8244-9B74-685929EA07A9}">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Feature Adoption</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D74E8F55-28B0-1449-BB42-848D03C83A07}" type="parTrans" cxnId="{C85E5FF5-CC69-7542-87E3-F53BFFFB33C5}">
      <dgm:prSet/>
      <dgm:spPr/>
      <dgm:t>
        <a:bodyPr/>
        <a:lstStyle/>
        <a:p>
          <a:endParaRPr lang="en-US"/>
        </a:p>
      </dgm:t>
    </dgm:pt>
    <dgm:pt modelId="{2BAEE787-C3BB-084A-973F-41F2D4C4B817}" type="sibTrans" cxnId="{C85E5FF5-CC69-7542-87E3-F53BFFFB33C5}">
      <dgm:prSet/>
      <dgm:spPr/>
      <dgm:t>
        <a:bodyPr/>
        <a:lstStyle/>
        <a:p>
          <a:endParaRPr lang="en-US"/>
        </a:p>
      </dgm:t>
    </dgm:pt>
    <dgm:pt modelId="{673F6D0B-9C4E-A641-BE42-3B22377D523C}">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Habitual</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EDEBE951-9924-9A44-B68E-7DE4554B47B2}" type="parTrans" cxnId="{A2BEE94D-28FA-514C-A9FA-593902A80A7A}">
      <dgm:prSet/>
      <dgm:spPr/>
      <dgm:t>
        <a:bodyPr/>
        <a:lstStyle/>
        <a:p>
          <a:endParaRPr lang="en-US"/>
        </a:p>
      </dgm:t>
    </dgm:pt>
    <dgm:pt modelId="{683F8F3D-F887-D949-9082-A2DF4254ECF6}" type="sibTrans" cxnId="{A2BEE94D-28FA-514C-A9FA-593902A80A7A}">
      <dgm:prSet/>
      <dgm:spPr/>
      <dgm:t>
        <a:bodyPr/>
        <a:lstStyle/>
        <a:p>
          <a:endParaRPr lang="en-US"/>
        </a:p>
      </dgm:t>
    </dgm:pt>
    <dgm:pt modelId="{314B9196-1473-B847-9E2D-BBB5E974FF5D}">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Average # of Steps to Conversion</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5B71C1A7-AA1C-614E-89B5-8DA7126882CE}" type="parTrans" cxnId="{32D5092F-0630-FC4A-B643-5FC4FC94A21A}">
      <dgm:prSet/>
      <dgm:spPr/>
      <dgm:t>
        <a:bodyPr/>
        <a:lstStyle/>
        <a:p>
          <a:endParaRPr lang="en-US"/>
        </a:p>
      </dgm:t>
    </dgm:pt>
    <dgm:pt modelId="{513E41C6-1CD3-0446-88F0-1626ED611D49}" type="sibTrans" cxnId="{32D5092F-0630-FC4A-B643-5FC4FC94A21A}">
      <dgm:prSet/>
      <dgm:spPr/>
      <dgm:t>
        <a:bodyPr/>
        <a:lstStyle/>
        <a:p>
          <a:endParaRPr lang="en-US"/>
        </a:p>
      </dgm:t>
    </dgm:pt>
    <dgm:pt modelId="{F980A4DF-B631-0440-85FC-B9B88F3E6BE0}">
      <dgm:prSet phldrT="[Text]"/>
      <dgm:spPr>
        <a:solidFill>
          <a:srgbClr val="83C2FD"/>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Average Completion Rate / Step</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145192E0-DF0F-B740-B6C0-F34F7DEA09EF}" type="parTrans" cxnId="{C531F747-C570-174D-AB42-577D10E68C95}">
      <dgm:prSet/>
      <dgm:spPr/>
      <dgm:t>
        <a:bodyPr/>
        <a:lstStyle/>
        <a:p>
          <a:endParaRPr lang="en-US"/>
        </a:p>
      </dgm:t>
    </dgm:pt>
    <dgm:pt modelId="{86D3E9BF-8332-B748-A245-11607B0F6ABB}" type="sibTrans" cxnId="{C531F747-C570-174D-AB42-577D10E68C95}">
      <dgm:prSet/>
      <dgm:spPr/>
      <dgm:t>
        <a:bodyPr/>
        <a:lstStyle/>
        <a:p>
          <a:endParaRPr lang="en-US"/>
        </a:p>
      </dgm:t>
    </dgm:pt>
    <dgm:pt modelId="{041119CE-361E-6D4A-9899-F5AB6B6B890A}" type="pres">
      <dgm:prSet presAssocID="{FD2DC9C9-CCF8-6D47-A8AF-7E8440F609A2}" presName="hierChild1" presStyleCnt="0">
        <dgm:presLayoutVars>
          <dgm:chPref val="1"/>
          <dgm:dir/>
          <dgm:animOne val="branch"/>
          <dgm:animLvl val="lvl"/>
          <dgm:resizeHandles/>
        </dgm:presLayoutVars>
      </dgm:prSet>
      <dgm:spPr/>
      <dgm:t>
        <a:bodyPr/>
        <a:lstStyle/>
        <a:p>
          <a:endParaRPr lang="en-US"/>
        </a:p>
      </dgm:t>
    </dgm:pt>
    <dgm:pt modelId="{731D8AB7-CF94-8041-8E47-BC61C5240D6A}" type="pres">
      <dgm:prSet presAssocID="{D442C324-979C-3840-AA5A-AA0636E387F7}" presName="hierRoot1" presStyleCnt="0"/>
      <dgm:spPr/>
    </dgm:pt>
    <dgm:pt modelId="{FA8D638D-511A-CB45-84D0-DC8F18D84E5B}" type="pres">
      <dgm:prSet presAssocID="{D442C324-979C-3840-AA5A-AA0636E387F7}" presName="composite" presStyleCnt="0"/>
      <dgm:spPr/>
    </dgm:pt>
    <dgm:pt modelId="{B583EF7D-CB8E-AF47-A04A-538F36D040F1}" type="pres">
      <dgm:prSet presAssocID="{D442C324-979C-3840-AA5A-AA0636E387F7}" presName="background" presStyleLbl="node0" presStyleIdx="0" presStyleCnt="1"/>
      <dgm:spPr/>
    </dgm:pt>
    <dgm:pt modelId="{048F2AA8-3106-1549-A86D-816408887124}" type="pres">
      <dgm:prSet presAssocID="{D442C324-979C-3840-AA5A-AA0636E387F7}" presName="text" presStyleLbl="fgAcc0" presStyleIdx="0" presStyleCnt="1">
        <dgm:presLayoutVars>
          <dgm:chPref val="3"/>
        </dgm:presLayoutVars>
      </dgm:prSet>
      <dgm:spPr/>
      <dgm:t>
        <a:bodyPr/>
        <a:lstStyle/>
        <a:p>
          <a:endParaRPr lang="en-US"/>
        </a:p>
      </dgm:t>
    </dgm:pt>
    <dgm:pt modelId="{1FDB5EB6-2165-EE42-8379-0CAB53CAA213}" type="pres">
      <dgm:prSet presAssocID="{D442C324-979C-3840-AA5A-AA0636E387F7}" presName="hierChild2" presStyleCnt="0"/>
      <dgm:spPr/>
    </dgm:pt>
    <dgm:pt modelId="{1AC89EAC-2991-7245-8EC8-92F87503F89E}" type="pres">
      <dgm:prSet presAssocID="{B5989DB7-93DA-3042-A4BC-2D978523631A}" presName="Name10" presStyleLbl="parChTrans1D2" presStyleIdx="0" presStyleCnt="2"/>
      <dgm:spPr/>
      <dgm:t>
        <a:bodyPr/>
        <a:lstStyle/>
        <a:p>
          <a:endParaRPr lang="en-US"/>
        </a:p>
      </dgm:t>
    </dgm:pt>
    <dgm:pt modelId="{44894C27-37A3-F349-AC2D-056A5F139025}" type="pres">
      <dgm:prSet presAssocID="{791C91B1-69DB-B342-89AC-C1FFA75CEEA8}" presName="hierRoot2" presStyleCnt="0"/>
      <dgm:spPr/>
    </dgm:pt>
    <dgm:pt modelId="{591A2A33-E551-534F-B006-D6CBBFE0D015}" type="pres">
      <dgm:prSet presAssocID="{791C91B1-69DB-B342-89AC-C1FFA75CEEA8}" presName="composite2" presStyleCnt="0"/>
      <dgm:spPr/>
    </dgm:pt>
    <dgm:pt modelId="{DD48E2C9-22D8-1A49-89B2-CCC45CF4953F}" type="pres">
      <dgm:prSet presAssocID="{791C91B1-69DB-B342-89AC-C1FFA75CEEA8}" presName="background2" presStyleLbl="node2" presStyleIdx="0" presStyleCnt="2"/>
      <dgm:spPr/>
    </dgm:pt>
    <dgm:pt modelId="{6FEDD366-0C5B-8F47-B329-80EB5A93F26A}" type="pres">
      <dgm:prSet presAssocID="{791C91B1-69DB-B342-89AC-C1FFA75CEEA8}" presName="text2" presStyleLbl="fgAcc2" presStyleIdx="0" presStyleCnt="2">
        <dgm:presLayoutVars>
          <dgm:chPref val="3"/>
        </dgm:presLayoutVars>
      </dgm:prSet>
      <dgm:spPr/>
      <dgm:t>
        <a:bodyPr/>
        <a:lstStyle/>
        <a:p>
          <a:endParaRPr lang="en-US"/>
        </a:p>
      </dgm:t>
    </dgm:pt>
    <dgm:pt modelId="{92706B4E-6642-8348-9210-602EB1450A4B}" type="pres">
      <dgm:prSet presAssocID="{791C91B1-69DB-B342-89AC-C1FFA75CEEA8}" presName="hierChild3" presStyleCnt="0"/>
      <dgm:spPr/>
    </dgm:pt>
    <dgm:pt modelId="{5702A89A-DC52-9C46-9B02-580E3D9B64DA}" type="pres">
      <dgm:prSet presAssocID="{851F8F58-3751-A14F-BDFB-DDFEB23CDECE}" presName="Name17" presStyleLbl="parChTrans1D3" presStyleIdx="0" presStyleCnt="6"/>
      <dgm:spPr/>
      <dgm:t>
        <a:bodyPr/>
        <a:lstStyle/>
        <a:p>
          <a:endParaRPr lang="en-US"/>
        </a:p>
      </dgm:t>
    </dgm:pt>
    <dgm:pt modelId="{CA5B40DC-2A9A-AE40-853B-BEB37CB3024E}" type="pres">
      <dgm:prSet presAssocID="{6B137036-E8E5-014A-8BE0-29F5C4726E32}" presName="hierRoot3" presStyleCnt="0"/>
      <dgm:spPr/>
    </dgm:pt>
    <dgm:pt modelId="{498826F6-9AAA-F449-89C9-735D1CFC1A63}" type="pres">
      <dgm:prSet presAssocID="{6B137036-E8E5-014A-8BE0-29F5C4726E32}" presName="composite3" presStyleCnt="0"/>
      <dgm:spPr/>
    </dgm:pt>
    <dgm:pt modelId="{477DB18B-C230-374D-BF65-5E997DB797BB}" type="pres">
      <dgm:prSet presAssocID="{6B137036-E8E5-014A-8BE0-29F5C4726E32}" presName="background3" presStyleLbl="node3" presStyleIdx="0" presStyleCnt="6"/>
      <dgm:spPr/>
    </dgm:pt>
    <dgm:pt modelId="{0A51E13A-D55B-2E4C-A58B-2676DECBA1CF}" type="pres">
      <dgm:prSet presAssocID="{6B137036-E8E5-014A-8BE0-29F5C4726E32}" presName="text3" presStyleLbl="fgAcc3" presStyleIdx="0" presStyleCnt="6">
        <dgm:presLayoutVars>
          <dgm:chPref val="3"/>
        </dgm:presLayoutVars>
      </dgm:prSet>
      <dgm:spPr/>
      <dgm:t>
        <a:bodyPr/>
        <a:lstStyle/>
        <a:p>
          <a:endParaRPr lang="en-US"/>
        </a:p>
      </dgm:t>
    </dgm:pt>
    <dgm:pt modelId="{25A513DB-6023-034E-8BE4-A18B3300C1C7}" type="pres">
      <dgm:prSet presAssocID="{6B137036-E8E5-014A-8BE0-29F5C4726E32}" presName="hierChild4" presStyleCnt="0"/>
      <dgm:spPr/>
    </dgm:pt>
    <dgm:pt modelId="{9A158C36-03F1-F743-A3B1-0CFE5ED9484B}" type="pres">
      <dgm:prSet presAssocID="{6D3EAF21-017B-7E47-BA73-C540D28819FB}" presName="Name23" presStyleLbl="parChTrans1D4" presStyleIdx="0" presStyleCnt="16"/>
      <dgm:spPr/>
      <dgm:t>
        <a:bodyPr/>
        <a:lstStyle/>
        <a:p>
          <a:endParaRPr lang="en-US"/>
        </a:p>
      </dgm:t>
    </dgm:pt>
    <dgm:pt modelId="{71CD6ECF-029B-CC4E-9E54-D3951CE7116A}" type="pres">
      <dgm:prSet presAssocID="{1C862158-E375-264D-9841-C32252747292}" presName="hierRoot4" presStyleCnt="0"/>
      <dgm:spPr/>
    </dgm:pt>
    <dgm:pt modelId="{4D7573E8-9C9A-4A48-8B3D-087E1230BF4E}" type="pres">
      <dgm:prSet presAssocID="{1C862158-E375-264D-9841-C32252747292}" presName="composite4" presStyleCnt="0"/>
      <dgm:spPr/>
    </dgm:pt>
    <dgm:pt modelId="{463832CD-301B-1545-ADDA-B334A33617D7}" type="pres">
      <dgm:prSet presAssocID="{1C862158-E375-264D-9841-C32252747292}" presName="background4" presStyleLbl="node4" presStyleIdx="0" presStyleCnt="16"/>
      <dgm:spPr/>
    </dgm:pt>
    <dgm:pt modelId="{6A8B35D2-4ECC-9544-8541-E1807F56388F}" type="pres">
      <dgm:prSet presAssocID="{1C862158-E375-264D-9841-C32252747292}" presName="text4" presStyleLbl="fgAcc4" presStyleIdx="0" presStyleCnt="16">
        <dgm:presLayoutVars>
          <dgm:chPref val="3"/>
        </dgm:presLayoutVars>
      </dgm:prSet>
      <dgm:spPr/>
      <dgm:t>
        <a:bodyPr/>
        <a:lstStyle/>
        <a:p>
          <a:endParaRPr lang="en-US"/>
        </a:p>
      </dgm:t>
    </dgm:pt>
    <dgm:pt modelId="{43E655DD-D1EE-0240-8CCB-7D2C42C865D8}" type="pres">
      <dgm:prSet presAssocID="{1C862158-E375-264D-9841-C32252747292}" presName="hierChild5" presStyleCnt="0"/>
      <dgm:spPr/>
    </dgm:pt>
    <dgm:pt modelId="{A024F2C1-6A20-1E43-9274-B647A28E8AB8}" type="pres">
      <dgm:prSet presAssocID="{F3DDBC59-45F0-8F4A-ABE6-2BABCA0324CE}" presName="Name23" presStyleLbl="parChTrans1D4" presStyleIdx="1" presStyleCnt="16"/>
      <dgm:spPr/>
      <dgm:t>
        <a:bodyPr/>
        <a:lstStyle/>
        <a:p>
          <a:endParaRPr lang="en-US"/>
        </a:p>
      </dgm:t>
    </dgm:pt>
    <dgm:pt modelId="{DC2FF0F9-FD50-DC42-AECF-737E2EA38BCB}" type="pres">
      <dgm:prSet presAssocID="{518B459C-2312-B04F-BF42-97146ED51F86}" presName="hierRoot4" presStyleCnt="0"/>
      <dgm:spPr/>
    </dgm:pt>
    <dgm:pt modelId="{8696A2A4-1D87-6546-9BAA-5F6530E93A0B}" type="pres">
      <dgm:prSet presAssocID="{518B459C-2312-B04F-BF42-97146ED51F86}" presName="composite4" presStyleCnt="0"/>
      <dgm:spPr/>
    </dgm:pt>
    <dgm:pt modelId="{882799FF-A5B8-8D49-A01A-6968498E58FB}" type="pres">
      <dgm:prSet presAssocID="{518B459C-2312-B04F-BF42-97146ED51F86}" presName="background4" presStyleLbl="node4" presStyleIdx="1" presStyleCnt="16"/>
      <dgm:spPr/>
    </dgm:pt>
    <dgm:pt modelId="{D4AF643F-59EE-1C48-B0EF-E9B2667E61A8}" type="pres">
      <dgm:prSet presAssocID="{518B459C-2312-B04F-BF42-97146ED51F86}" presName="text4" presStyleLbl="fgAcc4" presStyleIdx="1" presStyleCnt="16">
        <dgm:presLayoutVars>
          <dgm:chPref val="3"/>
        </dgm:presLayoutVars>
      </dgm:prSet>
      <dgm:spPr/>
      <dgm:t>
        <a:bodyPr/>
        <a:lstStyle/>
        <a:p>
          <a:endParaRPr lang="en-US"/>
        </a:p>
      </dgm:t>
    </dgm:pt>
    <dgm:pt modelId="{447AD3CA-2092-1540-8067-69DF0D9897A2}" type="pres">
      <dgm:prSet presAssocID="{518B459C-2312-B04F-BF42-97146ED51F86}" presName="hierChild5" presStyleCnt="0"/>
      <dgm:spPr/>
    </dgm:pt>
    <dgm:pt modelId="{D70DEA0E-8520-2540-831B-4FA2C2611548}" type="pres">
      <dgm:prSet presAssocID="{7CFB8F03-51A8-FF42-BCC1-3A6EC510A734}" presName="Name17" presStyleLbl="parChTrans1D3" presStyleIdx="1" presStyleCnt="6"/>
      <dgm:spPr/>
      <dgm:t>
        <a:bodyPr/>
        <a:lstStyle/>
        <a:p>
          <a:endParaRPr lang="en-US"/>
        </a:p>
      </dgm:t>
    </dgm:pt>
    <dgm:pt modelId="{1B738EE8-676D-C741-AECD-A5B582330D5F}" type="pres">
      <dgm:prSet presAssocID="{4A1D6B3A-2293-6245-A8A3-1320CD263F8D}" presName="hierRoot3" presStyleCnt="0"/>
      <dgm:spPr/>
    </dgm:pt>
    <dgm:pt modelId="{60546388-9123-C441-AF7C-ECA37828548B}" type="pres">
      <dgm:prSet presAssocID="{4A1D6B3A-2293-6245-A8A3-1320CD263F8D}" presName="composite3" presStyleCnt="0"/>
      <dgm:spPr/>
    </dgm:pt>
    <dgm:pt modelId="{6D6AA854-C025-F646-A06B-0F257970ABF7}" type="pres">
      <dgm:prSet presAssocID="{4A1D6B3A-2293-6245-A8A3-1320CD263F8D}" presName="background3" presStyleLbl="node3" presStyleIdx="1" presStyleCnt="6"/>
      <dgm:spPr/>
    </dgm:pt>
    <dgm:pt modelId="{49BEA11A-6C57-C74E-B1F5-F771BED0B5A9}" type="pres">
      <dgm:prSet presAssocID="{4A1D6B3A-2293-6245-A8A3-1320CD263F8D}" presName="text3" presStyleLbl="fgAcc3" presStyleIdx="1" presStyleCnt="6">
        <dgm:presLayoutVars>
          <dgm:chPref val="3"/>
        </dgm:presLayoutVars>
      </dgm:prSet>
      <dgm:spPr/>
      <dgm:t>
        <a:bodyPr/>
        <a:lstStyle/>
        <a:p>
          <a:endParaRPr lang="en-US"/>
        </a:p>
      </dgm:t>
    </dgm:pt>
    <dgm:pt modelId="{49E3D014-B538-5945-B201-466244F67E77}" type="pres">
      <dgm:prSet presAssocID="{4A1D6B3A-2293-6245-A8A3-1320CD263F8D}" presName="hierChild4" presStyleCnt="0"/>
      <dgm:spPr/>
    </dgm:pt>
    <dgm:pt modelId="{DDA32A11-8AB9-1346-9B7E-CF736C682E0A}" type="pres">
      <dgm:prSet presAssocID="{8E9190C9-4F4D-254D-8BA8-808D712D5313}" presName="Name23" presStyleLbl="parChTrans1D4" presStyleIdx="2" presStyleCnt="16"/>
      <dgm:spPr/>
      <dgm:t>
        <a:bodyPr/>
        <a:lstStyle/>
        <a:p>
          <a:endParaRPr lang="en-US"/>
        </a:p>
      </dgm:t>
    </dgm:pt>
    <dgm:pt modelId="{E2FF77B9-75A5-B841-84C6-F50C4A16AF33}" type="pres">
      <dgm:prSet presAssocID="{F99A6EDB-36E5-DD4A-AEF6-72CBB67FBD7A}" presName="hierRoot4" presStyleCnt="0"/>
      <dgm:spPr/>
    </dgm:pt>
    <dgm:pt modelId="{1C1F6997-7844-9F4C-94D7-B0B0D8619141}" type="pres">
      <dgm:prSet presAssocID="{F99A6EDB-36E5-DD4A-AEF6-72CBB67FBD7A}" presName="composite4" presStyleCnt="0"/>
      <dgm:spPr/>
    </dgm:pt>
    <dgm:pt modelId="{E03D62CA-2400-FF44-874F-E30E4BBA914F}" type="pres">
      <dgm:prSet presAssocID="{F99A6EDB-36E5-DD4A-AEF6-72CBB67FBD7A}" presName="background4" presStyleLbl="node4" presStyleIdx="2" presStyleCnt="16"/>
      <dgm:spPr/>
    </dgm:pt>
    <dgm:pt modelId="{85B70441-8FD5-5948-A0B7-1745854AE3CF}" type="pres">
      <dgm:prSet presAssocID="{F99A6EDB-36E5-DD4A-AEF6-72CBB67FBD7A}" presName="text4" presStyleLbl="fgAcc4" presStyleIdx="2" presStyleCnt="16">
        <dgm:presLayoutVars>
          <dgm:chPref val="3"/>
        </dgm:presLayoutVars>
      </dgm:prSet>
      <dgm:spPr/>
      <dgm:t>
        <a:bodyPr/>
        <a:lstStyle/>
        <a:p>
          <a:endParaRPr lang="en-US"/>
        </a:p>
      </dgm:t>
    </dgm:pt>
    <dgm:pt modelId="{A394C79A-791B-204C-BF1B-B905D8DB78D6}" type="pres">
      <dgm:prSet presAssocID="{F99A6EDB-36E5-DD4A-AEF6-72CBB67FBD7A}" presName="hierChild5" presStyleCnt="0"/>
      <dgm:spPr/>
    </dgm:pt>
    <dgm:pt modelId="{C5DF801C-9F86-F24A-8145-28B7DF4D6CFA}" type="pres">
      <dgm:prSet presAssocID="{432443D9-7412-D84B-9DE5-EF1CFD65003A}" presName="Name23" presStyleLbl="parChTrans1D4" presStyleIdx="3" presStyleCnt="16"/>
      <dgm:spPr/>
      <dgm:t>
        <a:bodyPr/>
        <a:lstStyle/>
        <a:p>
          <a:endParaRPr lang="en-US"/>
        </a:p>
      </dgm:t>
    </dgm:pt>
    <dgm:pt modelId="{280117B7-6C59-2946-9968-8AE5FBF84E03}" type="pres">
      <dgm:prSet presAssocID="{4ACE3004-015E-7842-BEB2-CB8D97C58C73}" presName="hierRoot4" presStyleCnt="0"/>
      <dgm:spPr/>
    </dgm:pt>
    <dgm:pt modelId="{5312FB75-4E6D-C449-A8A4-72EC11F85C17}" type="pres">
      <dgm:prSet presAssocID="{4ACE3004-015E-7842-BEB2-CB8D97C58C73}" presName="composite4" presStyleCnt="0"/>
      <dgm:spPr/>
    </dgm:pt>
    <dgm:pt modelId="{ADEE0510-E56D-5D4A-9965-448ABDA9D317}" type="pres">
      <dgm:prSet presAssocID="{4ACE3004-015E-7842-BEB2-CB8D97C58C73}" presName="background4" presStyleLbl="node4" presStyleIdx="3" presStyleCnt="16"/>
      <dgm:spPr/>
    </dgm:pt>
    <dgm:pt modelId="{30FEC9FA-96E3-3041-819F-0F526CF441D9}" type="pres">
      <dgm:prSet presAssocID="{4ACE3004-015E-7842-BEB2-CB8D97C58C73}" presName="text4" presStyleLbl="fgAcc4" presStyleIdx="3" presStyleCnt="16">
        <dgm:presLayoutVars>
          <dgm:chPref val="3"/>
        </dgm:presLayoutVars>
      </dgm:prSet>
      <dgm:spPr/>
      <dgm:t>
        <a:bodyPr/>
        <a:lstStyle/>
        <a:p>
          <a:endParaRPr lang="en-US"/>
        </a:p>
      </dgm:t>
    </dgm:pt>
    <dgm:pt modelId="{7C17C15E-37F3-A344-AF2A-37562A3E04F6}" type="pres">
      <dgm:prSet presAssocID="{4ACE3004-015E-7842-BEB2-CB8D97C58C73}" presName="hierChild5" presStyleCnt="0"/>
      <dgm:spPr/>
    </dgm:pt>
    <dgm:pt modelId="{5D6BDB73-C4B7-C048-B1A6-CE650313D413}" type="pres">
      <dgm:prSet presAssocID="{C632F9BF-DFEF-DE4C-9A2F-5B240D13D05B}" presName="Name17" presStyleLbl="parChTrans1D3" presStyleIdx="2" presStyleCnt="6"/>
      <dgm:spPr/>
      <dgm:t>
        <a:bodyPr/>
        <a:lstStyle/>
        <a:p>
          <a:endParaRPr lang="en-US"/>
        </a:p>
      </dgm:t>
    </dgm:pt>
    <dgm:pt modelId="{3BB67895-2C87-3342-875C-E3343811C21D}" type="pres">
      <dgm:prSet presAssocID="{69FD27CC-EC24-9246-8D3F-40082C413C88}" presName="hierRoot3" presStyleCnt="0"/>
      <dgm:spPr/>
    </dgm:pt>
    <dgm:pt modelId="{9E669F9E-1845-C14C-A8AA-CC2E46BDD5B9}" type="pres">
      <dgm:prSet presAssocID="{69FD27CC-EC24-9246-8D3F-40082C413C88}" presName="composite3" presStyleCnt="0"/>
      <dgm:spPr/>
    </dgm:pt>
    <dgm:pt modelId="{18756427-40E3-7940-A5F7-88FA2207A937}" type="pres">
      <dgm:prSet presAssocID="{69FD27CC-EC24-9246-8D3F-40082C413C88}" presName="background3" presStyleLbl="node3" presStyleIdx="2" presStyleCnt="6"/>
      <dgm:spPr/>
    </dgm:pt>
    <dgm:pt modelId="{B7489E5F-AADD-7944-A55A-9975D3C2DB1B}" type="pres">
      <dgm:prSet presAssocID="{69FD27CC-EC24-9246-8D3F-40082C413C88}" presName="text3" presStyleLbl="fgAcc3" presStyleIdx="2" presStyleCnt="6">
        <dgm:presLayoutVars>
          <dgm:chPref val="3"/>
        </dgm:presLayoutVars>
      </dgm:prSet>
      <dgm:spPr/>
      <dgm:t>
        <a:bodyPr/>
        <a:lstStyle/>
        <a:p>
          <a:endParaRPr lang="en-US"/>
        </a:p>
      </dgm:t>
    </dgm:pt>
    <dgm:pt modelId="{7EF85429-3F6C-E547-AD85-1FD5740FA4A9}" type="pres">
      <dgm:prSet presAssocID="{69FD27CC-EC24-9246-8D3F-40082C413C88}" presName="hierChild4" presStyleCnt="0"/>
      <dgm:spPr/>
    </dgm:pt>
    <dgm:pt modelId="{18247605-CC18-AB44-963F-617788F1E182}" type="pres">
      <dgm:prSet presAssocID="{12E3A000-6135-A44D-87CE-65F17A86258F}" presName="Name23" presStyleLbl="parChTrans1D4" presStyleIdx="4" presStyleCnt="16"/>
      <dgm:spPr/>
      <dgm:t>
        <a:bodyPr/>
        <a:lstStyle/>
        <a:p>
          <a:endParaRPr lang="en-US"/>
        </a:p>
      </dgm:t>
    </dgm:pt>
    <dgm:pt modelId="{914AD135-92B4-914D-B722-571C2644FB2C}" type="pres">
      <dgm:prSet presAssocID="{B9C7D2AD-9F44-2C44-A77E-72058D5F126A}" presName="hierRoot4" presStyleCnt="0"/>
      <dgm:spPr/>
    </dgm:pt>
    <dgm:pt modelId="{B45D4525-757A-5E4A-9CB2-86CFB8936215}" type="pres">
      <dgm:prSet presAssocID="{B9C7D2AD-9F44-2C44-A77E-72058D5F126A}" presName="composite4" presStyleCnt="0"/>
      <dgm:spPr/>
    </dgm:pt>
    <dgm:pt modelId="{CB31C5D9-FDD1-8C47-A6F3-FEEAC28FE9FB}" type="pres">
      <dgm:prSet presAssocID="{B9C7D2AD-9F44-2C44-A77E-72058D5F126A}" presName="background4" presStyleLbl="node4" presStyleIdx="4" presStyleCnt="16"/>
      <dgm:spPr/>
    </dgm:pt>
    <dgm:pt modelId="{8B9D9512-6CB7-7744-9A7A-2438D181619D}" type="pres">
      <dgm:prSet presAssocID="{B9C7D2AD-9F44-2C44-A77E-72058D5F126A}" presName="text4" presStyleLbl="fgAcc4" presStyleIdx="4" presStyleCnt="16">
        <dgm:presLayoutVars>
          <dgm:chPref val="3"/>
        </dgm:presLayoutVars>
      </dgm:prSet>
      <dgm:spPr/>
      <dgm:t>
        <a:bodyPr/>
        <a:lstStyle/>
        <a:p>
          <a:endParaRPr lang="en-US"/>
        </a:p>
      </dgm:t>
    </dgm:pt>
    <dgm:pt modelId="{CA47B654-EADD-C745-BA84-DC5F3E654F6B}" type="pres">
      <dgm:prSet presAssocID="{B9C7D2AD-9F44-2C44-A77E-72058D5F126A}" presName="hierChild5" presStyleCnt="0"/>
      <dgm:spPr/>
    </dgm:pt>
    <dgm:pt modelId="{23E55325-DABE-DA40-8046-8AA19E980D5B}" type="pres">
      <dgm:prSet presAssocID="{1E1182A3-DF48-0743-B5BE-997642EF78FC}" presName="Name23" presStyleLbl="parChTrans1D4" presStyleIdx="5" presStyleCnt="16"/>
      <dgm:spPr/>
      <dgm:t>
        <a:bodyPr/>
        <a:lstStyle/>
        <a:p>
          <a:endParaRPr lang="en-US"/>
        </a:p>
      </dgm:t>
    </dgm:pt>
    <dgm:pt modelId="{8B0F338F-96AA-F04F-AC9E-53B8F7FAD230}" type="pres">
      <dgm:prSet presAssocID="{C9411090-2839-EE4E-B79C-8B360B2F252E}" presName="hierRoot4" presStyleCnt="0"/>
      <dgm:spPr/>
    </dgm:pt>
    <dgm:pt modelId="{EC06016C-D97D-4943-BD59-B827680D7166}" type="pres">
      <dgm:prSet presAssocID="{C9411090-2839-EE4E-B79C-8B360B2F252E}" presName="composite4" presStyleCnt="0"/>
      <dgm:spPr/>
    </dgm:pt>
    <dgm:pt modelId="{18799725-392F-4B4E-B105-169BC390FEC3}" type="pres">
      <dgm:prSet presAssocID="{C9411090-2839-EE4E-B79C-8B360B2F252E}" presName="background4" presStyleLbl="node4" presStyleIdx="5" presStyleCnt="16"/>
      <dgm:spPr/>
    </dgm:pt>
    <dgm:pt modelId="{B3E0204E-BE97-5F43-B632-7E515187FE6E}" type="pres">
      <dgm:prSet presAssocID="{C9411090-2839-EE4E-B79C-8B360B2F252E}" presName="text4" presStyleLbl="fgAcc4" presStyleIdx="5" presStyleCnt="16">
        <dgm:presLayoutVars>
          <dgm:chPref val="3"/>
        </dgm:presLayoutVars>
      </dgm:prSet>
      <dgm:spPr/>
      <dgm:t>
        <a:bodyPr/>
        <a:lstStyle/>
        <a:p>
          <a:endParaRPr lang="en-US"/>
        </a:p>
      </dgm:t>
    </dgm:pt>
    <dgm:pt modelId="{9247B369-C8C3-2643-B767-9BD29289B120}" type="pres">
      <dgm:prSet presAssocID="{C9411090-2839-EE4E-B79C-8B360B2F252E}" presName="hierChild5" presStyleCnt="0"/>
      <dgm:spPr/>
    </dgm:pt>
    <dgm:pt modelId="{3EEDA285-1970-1D46-9EB9-147D865CF3A9}" type="pres">
      <dgm:prSet presAssocID="{D26D9B7E-21CB-9C44-90C1-96D203183AF5}" presName="Name23" presStyleLbl="parChTrans1D4" presStyleIdx="6" presStyleCnt="16"/>
      <dgm:spPr/>
      <dgm:t>
        <a:bodyPr/>
        <a:lstStyle/>
        <a:p>
          <a:endParaRPr lang="en-US"/>
        </a:p>
      </dgm:t>
    </dgm:pt>
    <dgm:pt modelId="{DDEE66D9-50B1-CC4A-911F-A3AF7324164E}" type="pres">
      <dgm:prSet presAssocID="{D8B2B4EE-906D-C341-A027-9DB13B56327C}" presName="hierRoot4" presStyleCnt="0"/>
      <dgm:spPr/>
    </dgm:pt>
    <dgm:pt modelId="{FAD60FE6-0C0C-A149-A0EE-490F210DD5DF}" type="pres">
      <dgm:prSet presAssocID="{D8B2B4EE-906D-C341-A027-9DB13B56327C}" presName="composite4" presStyleCnt="0"/>
      <dgm:spPr/>
    </dgm:pt>
    <dgm:pt modelId="{7F50D514-D2C8-584B-8556-878F4FFDE0A2}" type="pres">
      <dgm:prSet presAssocID="{D8B2B4EE-906D-C341-A027-9DB13B56327C}" presName="background4" presStyleLbl="node4" presStyleIdx="6" presStyleCnt="16"/>
      <dgm:spPr/>
    </dgm:pt>
    <dgm:pt modelId="{927995AE-BB49-6D4E-BF33-831FD62FB14B}" type="pres">
      <dgm:prSet presAssocID="{D8B2B4EE-906D-C341-A027-9DB13B56327C}" presName="text4" presStyleLbl="fgAcc4" presStyleIdx="6" presStyleCnt="16">
        <dgm:presLayoutVars>
          <dgm:chPref val="3"/>
        </dgm:presLayoutVars>
      </dgm:prSet>
      <dgm:spPr/>
      <dgm:t>
        <a:bodyPr/>
        <a:lstStyle/>
        <a:p>
          <a:endParaRPr lang="en-US"/>
        </a:p>
      </dgm:t>
    </dgm:pt>
    <dgm:pt modelId="{810A7773-BF1F-E040-89CF-F3C5E77AECBC}" type="pres">
      <dgm:prSet presAssocID="{D8B2B4EE-906D-C341-A027-9DB13B56327C}" presName="hierChild5" presStyleCnt="0"/>
      <dgm:spPr/>
    </dgm:pt>
    <dgm:pt modelId="{399AEB7C-4485-4241-98AE-0FF1F3000DCA}" type="pres">
      <dgm:prSet presAssocID="{0AB7B2FE-FF3F-B04E-AAFA-84BC4B4D4054}" presName="Name10" presStyleLbl="parChTrans1D2" presStyleIdx="1" presStyleCnt="2"/>
      <dgm:spPr/>
      <dgm:t>
        <a:bodyPr/>
        <a:lstStyle/>
        <a:p>
          <a:endParaRPr lang="en-US"/>
        </a:p>
      </dgm:t>
    </dgm:pt>
    <dgm:pt modelId="{967E2F6C-2B59-9647-BAFE-4E1F9BCB6CC2}" type="pres">
      <dgm:prSet presAssocID="{5C8678DF-13AC-4A49-BF8D-63E044418B90}" presName="hierRoot2" presStyleCnt="0"/>
      <dgm:spPr/>
    </dgm:pt>
    <dgm:pt modelId="{9434ED25-A2B1-DA4F-A41B-7C925F2C1D22}" type="pres">
      <dgm:prSet presAssocID="{5C8678DF-13AC-4A49-BF8D-63E044418B90}" presName="composite2" presStyleCnt="0"/>
      <dgm:spPr/>
    </dgm:pt>
    <dgm:pt modelId="{FAC892EB-B784-E043-ADF3-5B434AE6D49B}" type="pres">
      <dgm:prSet presAssocID="{5C8678DF-13AC-4A49-BF8D-63E044418B90}" presName="background2" presStyleLbl="node2" presStyleIdx="1" presStyleCnt="2"/>
      <dgm:spPr/>
    </dgm:pt>
    <dgm:pt modelId="{41E2835E-98C5-EF49-9E5C-AD086C3D2F45}" type="pres">
      <dgm:prSet presAssocID="{5C8678DF-13AC-4A49-BF8D-63E044418B90}" presName="text2" presStyleLbl="fgAcc2" presStyleIdx="1" presStyleCnt="2">
        <dgm:presLayoutVars>
          <dgm:chPref val="3"/>
        </dgm:presLayoutVars>
      </dgm:prSet>
      <dgm:spPr/>
      <dgm:t>
        <a:bodyPr/>
        <a:lstStyle/>
        <a:p>
          <a:endParaRPr lang="en-US"/>
        </a:p>
      </dgm:t>
    </dgm:pt>
    <dgm:pt modelId="{61ED6DAF-2DD1-A64A-BB30-9E2632D88539}" type="pres">
      <dgm:prSet presAssocID="{5C8678DF-13AC-4A49-BF8D-63E044418B90}" presName="hierChild3" presStyleCnt="0"/>
      <dgm:spPr/>
    </dgm:pt>
    <dgm:pt modelId="{D2925F18-8606-2E43-AE8E-58431B2489E3}" type="pres">
      <dgm:prSet presAssocID="{65A1ABA7-846E-0541-A9D1-91CDFBFE348C}" presName="Name17" presStyleLbl="parChTrans1D3" presStyleIdx="3" presStyleCnt="6"/>
      <dgm:spPr/>
      <dgm:t>
        <a:bodyPr/>
        <a:lstStyle/>
        <a:p>
          <a:endParaRPr lang="en-US"/>
        </a:p>
      </dgm:t>
    </dgm:pt>
    <dgm:pt modelId="{620CCCDA-49DF-A649-8BA7-072ECE82BB08}" type="pres">
      <dgm:prSet presAssocID="{64E098E7-3449-7B4A-9C43-71094416E9F9}" presName="hierRoot3" presStyleCnt="0"/>
      <dgm:spPr/>
    </dgm:pt>
    <dgm:pt modelId="{794F4A9F-6741-B144-AAAB-3EE59869E58D}" type="pres">
      <dgm:prSet presAssocID="{64E098E7-3449-7B4A-9C43-71094416E9F9}" presName="composite3" presStyleCnt="0"/>
      <dgm:spPr/>
    </dgm:pt>
    <dgm:pt modelId="{AC2D1B5A-08D2-1F49-AB84-BAB9757C89B2}" type="pres">
      <dgm:prSet presAssocID="{64E098E7-3449-7B4A-9C43-71094416E9F9}" presName="background3" presStyleLbl="node3" presStyleIdx="3" presStyleCnt="6"/>
      <dgm:spPr/>
    </dgm:pt>
    <dgm:pt modelId="{907A74ED-E37C-2647-B1D4-789A63789E2A}" type="pres">
      <dgm:prSet presAssocID="{64E098E7-3449-7B4A-9C43-71094416E9F9}" presName="text3" presStyleLbl="fgAcc3" presStyleIdx="3" presStyleCnt="6">
        <dgm:presLayoutVars>
          <dgm:chPref val="3"/>
        </dgm:presLayoutVars>
      </dgm:prSet>
      <dgm:spPr/>
      <dgm:t>
        <a:bodyPr/>
        <a:lstStyle/>
        <a:p>
          <a:endParaRPr lang="en-US"/>
        </a:p>
      </dgm:t>
    </dgm:pt>
    <dgm:pt modelId="{84E0679A-6460-454D-A842-79D3F57CB9EA}" type="pres">
      <dgm:prSet presAssocID="{64E098E7-3449-7B4A-9C43-71094416E9F9}" presName="hierChild4" presStyleCnt="0"/>
      <dgm:spPr/>
    </dgm:pt>
    <dgm:pt modelId="{F57C5B74-6E5F-C246-B9A4-E736AFA6913B}" type="pres">
      <dgm:prSet presAssocID="{2265F63D-4DD8-7E46-B108-53EFCFA805F7}" presName="Name23" presStyleLbl="parChTrans1D4" presStyleIdx="7" presStyleCnt="16"/>
      <dgm:spPr/>
      <dgm:t>
        <a:bodyPr/>
        <a:lstStyle/>
        <a:p>
          <a:endParaRPr lang="en-US"/>
        </a:p>
      </dgm:t>
    </dgm:pt>
    <dgm:pt modelId="{C24356BC-F26F-024D-8B2B-6DB0F72F10EB}" type="pres">
      <dgm:prSet presAssocID="{44F264E4-5357-124A-ADA4-F4F9626FADB2}" presName="hierRoot4" presStyleCnt="0"/>
      <dgm:spPr/>
    </dgm:pt>
    <dgm:pt modelId="{B506CB77-DEB2-504A-A588-37C775A87421}" type="pres">
      <dgm:prSet presAssocID="{44F264E4-5357-124A-ADA4-F4F9626FADB2}" presName="composite4" presStyleCnt="0"/>
      <dgm:spPr/>
    </dgm:pt>
    <dgm:pt modelId="{E710F1B8-0DAD-B145-AE0E-F8EAFDFACD9C}" type="pres">
      <dgm:prSet presAssocID="{44F264E4-5357-124A-ADA4-F4F9626FADB2}" presName="background4" presStyleLbl="node4" presStyleIdx="7" presStyleCnt="16"/>
      <dgm:spPr/>
    </dgm:pt>
    <dgm:pt modelId="{10B26BF5-9C37-A04F-A7E2-02309B7D2282}" type="pres">
      <dgm:prSet presAssocID="{44F264E4-5357-124A-ADA4-F4F9626FADB2}" presName="text4" presStyleLbl="fgAcc4" presStyleIdx="7" presStyleCnt="16">
        <dgm:presLayoutVars>
          <dgm:chPref val="3"/>
        </dgm:presLayoutVars>
      </dgm:prSet>
      <dgm:spPr/>
      <dgm:t>
        <a:bodyPr/>
        <a:lstStyle/>
        <a:p>
          <a:endParaRPr lang="en-US"/>
        </a:p>
      </dgm:t>
    </dgm:pt>
    <dgm:pt modelId="{045D7863-19B6-AD4A-B2B7-E2E176F2C336}" type="pres">
      <dgm:prSet presAssocID="{44F264E4-5357-124A-ADA4-F4F9626FADB2}" presName="hierChild5" presStyleCnt="0"/>
      <dgm:spPr/>
    </dgm:pt>
    <dgm:pt modelId="{E67CCEAE-7D80-4B4D-8D08-6B0EEF385A76}" type="pres">
      <dgm:prSet presAssocID="{397C09B5-F89D-294F-9FDE-9F77487A494F}" presName="Name23" presStyleLbl="parChTrans1D4" presStyleIdx="8" presStyleCnt="16"/>
      <dgm:spPr/>
      <dgm:t>
        <a:bodyPr/>
        <a:lstStyle/>
        <a:p>
          <a:endParaRPr lang="en-US"/>
        </a:p>
      </dgm:t>
    </dgm:pt>
    <dgm:pt modelId="{34C5780E-0A57-EB42-94B2-AB97CC68CE8B}" type="pres">
      <dgm:prSet presAssocID="{51CB60C3-4A34-2442-BD37-A144FB8A9F1A}" presName="hierRoot4" presStyleCnt="0"/>
      <dgm:spPr/>
    </dgm:pt>
    <dgm:pt modelId="{5512A72F-9DEB-474D-A6EF-C9E6D46C35D6}" type="pres">
      <dgm:prSet presAssocID="{51CB60C3-4A34-2442-BD37-A144FB8A9F1A}" presName="composite4" presStyleCnt="0"/>
      <dgm:spPr/>
    </dgm:pt>
    <dgm:pt modelId="{27A810AD-7B0B-804D-8F7C-AC386B4CCF91}" type="pres">
      <dgm:prSet presAssocID="{51CB60C3-4A34-2442-BD37-A144FB8A9F1A}" presName="background4" presStyleLbl="node4" presStyleIdx="8" presStyleCnt="16"/>
      <dgm:spPr/>
    </dgm:pt>
    <dgm:pt modelId="{DE73280C-29C7-AD47-B427-257D318489E7}" type="pres">
      <dgm:prSet presAssocID="{51CB60C3-4A34-2442-BD37-A144FB8A9F1A}" presName="text4" presStyleLbl="fgAcc4" presStyleIdx="8" presStyleCnt="16">
        <dgm:presLayoutVars>
          <dgm:chPref val="3"/>
        </dgm:presLayoutVars>
      </dgm:prSet>
      <dgm:spPr/>
      <dgm:t>
        <a:bodyPr/>
        <a:lstStyle/>
        <a:p>
          <a:endParaRPr lang="en-US"/>
        </a:p>
      </dgm:t>
    </dgm:pt>
    <dgm:pt modelId="{B2B409C4-E550-554C-8428-9F5ADEE09DBC}" type="pres">
      <dgm:prSet presAssocID="{51CB60C3-4A34-2442-BD37-A144FB8A9F1A}" presName="hierChild5" presStyleCnt="0"/>
      <dgm:spPr/>
    </dgm:pt>
    <dgm:pt modelId="{1FB9651F-8479-E741-ADCC-3C1B81C68F05}" type="pres">
      <dgm:prSet presAssocID="{5B71C1A7-AA1C-614E-89B5-8DA7126882CE}" presName="Name23" presStyleLbl="parChTrans1D4" presStyleIdx="9" presStyleCnt="16"/>
      <dgm:spPr/>
      <dgm:t>
        <a:bodyPr/>
        <a:lstStyle/>
        <a:p>
          <a:endParaRPr lang="en-US"/>
        </a:p>
      </dgm:t>
    </dgm:pt>
    <dgm:pt modelId="{7E47D623-346A-224B-8ACF-2F1A45522FBE}" type="pres">
      <dgm:prSet presAssocID="{314B9196-1473-B847-9E2D-BBB5E974FF5D}" presName="hierRoot4" presStyleCnt="0"/>
      <dgm:spPr/>
    </dgm:pt>
    <dgm:pt modelId="{AC0AC172-4BAF-E147-9FF8-F76496AE6C26}" type="pres">
      <dgm:prSet presAssocID="{314B9196-1473-B847-9E2D-BBB5E974FF5D}" presName="composite4" presStyleCnt="0"/>
      <dgm:spPr/>
    </dgm:pt>
    <dgm:pt modelId="{C4A9811C-C4BA-ED45-9ECF-C4D110FB874F}" type="pres">
      <dgm:prSet presAssocID="{314B9196-1473-B847-9E2D-BBB5E974FF5D}" presName="background4" presStyleLbl="node4" presStyleIdx="9" presStyleCnt="16"/>
      <dgm:spPr/>
    </dgm:pt>
    <dgm:pt modelId="{FAA5CA3F-759B-824D-92BA-3CA616B87B8A}" type="pres">
      <dgm:prSet presAssocID="{314B9196-1473-B847-9E2D-BBB5E974FF5D}" presName="text4" presStyleLbl="fgAcc4" presStyleIdx="9" presStyleCnt="16">
        <dgm:presLayoutVars>
          <dgm:chPref val="3"/>
        </dgm:presLayoutVars>
      </dgm:prSet>
      <dgm:spPr/>
      <dgm:t>
        <a:bodyPr/>
        <a:lstStyle/>
        <a:p>
          <a:endParaRPr lang="en-US"/>
        </a:p>
      </dgm:t>
    </dgm:pt>
    <dgm:pt modelId="{B6504474-88E6-AE41-A18B-F43D4B3EB51E}" type="pres">
      <dgm:prSet presAssocID="{314B9196-1473-B847-9E2D-BBB5E974FF5D}" presName="hierChild5" presStyleCnt="0"/>
      <dgm:spPr/>
    </dgm:pt>
    <dgm:pt modelId="{C31D8C99-DBEE-0C43-A53A-EA88B35F45CE}" type="pres">
      <dgm:prSet presAssocID="{145192E0-DF0F-B740-B6C0-F34F7DEA09EF}" presName="Name23" presStyleLbl="parChTrans1D4" presStyleIdx="10" presStyleCnt="16"/>
      <dgm:spPr/>
      <dgm:t>
        <a:bodyPr/>
        <a:lstStyle/>
        <a:p>
          <a:endParaRPr lang="en-US"/>
        </a:p>
      </dgm:t>
    </dgm:pt>
    <dgm:pt modelId="{E68E7A2D-4134-D344-9C43-C948B74E196F}" type="pres">
      <dgm:prSet presAssocID="{F980A4DF-B631-0440-85FC-B9B88F3E6BE0}" presName="hierRoot4" presStyleCnt="0"/>
      <dgm:spPr/>
    </dgm:pt>
    <dgm:pt modelId="{99299658-3047-8949-BB86-949E543076DE}" type="pres">
      <dgm:prSet presAssocID="{F980A4DF-B631-0440-85FC-B9B88F3E6BE0}" presName="composite4" presStyleCnt="0"/>
      <dgm:spPr/>
    </dgm:pt>
    <dgm:pt modelId="{92107394-230A-3148-BCEB-882C2154AE77}" type="pres">
      <dgm:prSet presAssocID="{F980A4DF-B631-0440-85FC-B9B88F3E6BE0}" presName="background4" presStyleLbl="node4" presStyleIdx="10" presStyleCnt="16"/>
      <dgm:spPr/>
    </dgm:pt>
    <dgm:pt modelId="{55611601-3A33-9D44-8EAC-30296F6AAB7A}" type="pres">
      <dgm:prSet presAssocID="{F980A4DF-B631-0440-85FC-B9B88F3E6BE0}" presName="text4" presStyleLbl="fgAcc4" presStyleIdx="10" presStyleCnt="16">
        <dgm:presLayoutVars>
          <dgm:chPref val="3"/>
        </dgm:presLayoutVars>
      </dgm:prSet>
      <dgm:spPr/>
      <dgm:t>
        <a:bodyPr/>
        <a:lstStyle/>
        <a:p>
          <a:endParaRPr lang="en-US"/>
        </a:p>
      </dgm:t>
    </dgm:pt>
    <dgm:pt modelId="{5D862C62-72DF-9541-95E2-0C2DDE8D5150}" type="pres">
      <dgm:prSet presAssocID="{F980A4DF-B631-0440-85FC-B9B88F3E6BE0}" presName="hierChild5" presStyleCnt="0"/>
      <dgm:spPr/>
    </dgm:pt>
    <dgm:pt modelId="{02268241-BBC4-6544-96CA-2B2336FFC79F}" type="pres">
      <dgm:prSet presAssocID="{330375B1-F2A9-2A4F-B144-A18FF959BC35}" presName="Name17" presStyleLbl="parChTrans1D3" presStyleIdx="4" presStyleCnt="6"/>
      <dgm:spPr/>
      <dgm:t>
        <a:bodyPr/>
        <a:lstStyle/>
        <a:p>
          <a:endParaRPr lang="en-US"/>
        </a:p>
      </dgm:t>
    </dgm:pt>
    <dgm:pt modelId="{78880732-9D95-5440-9985-B28C1BA85F3D}" type="pres">
      <dgm:prSet presAssocID="{A213D281-6091-EA4D-A10F-78162259C24C}" presName="hierRoot3" presStyleCnt="0"/>
      <dgm:spPr/>
    </dgm:pt>
    <dgm:pt modelId="{610FB304-81A4-F34F-BF32-59D0A7A77C98}" type="pres">
      <dgm:prSet presAssocID="{A213D281-6091-EA4D-A10F-78162259C24C}" presName="composite3" presStyleCnt="0"/>
      <dgm:spPr/>
    </dgm:pt>
    <dgm:pt modelId="{0E85ABCF-8101-0240-88DB-8975FCEC3D72}" type="pres">
      <dgm:prSet presAssocID="{A213D281-6091-EA4D-A10F-78162259C24C}" presName="background3" presStyleLbl="node3" presStyleIdx="4" presStyleCnt="6"/>
      <dgm:spPr/>
    </dgm:pt>
    <dgm:pt modelId="{D90E83F9-39F7-9045-8AEE-DBC35B1F9686}" type="pres">
      <dgm:prSet presAssocID="{A213D281-6091-EA4D-A10F-78162259C24C}" presName="text3" presStyleLbl="fgAcc3" presStyleIdx="4" presStyleCnt="6">
        <dgm:presLayoutVars>
          <dgm:chPref val="3"/>
        </dgm:presLayoutVars>
      </dgm:prSet>
      <dgm:spPr/>
      <dgm:t>
        <a:bodyPr/>
        <a:lstStyle/>
        <a:p>
          <a:endParaRPr lang="en-US"/>
        </a:p>
      </dgm:t>
    </dgm:pt>
    <dgm:pt modelId="{509BBB6C-0423-7B4A-BEB5-23B1370A27CE}" type="pres">
      <dgm:prSet presAssocID="{A213D281-6091-EA4D-A10F-78162259C24C}" presName="hierChild4" presStyleCnt="0"/>
      <dgm:spPr/>
    </dgm:pt>
    <dgm:pt modelId="{A169A7AD-DFFE-0C40-8583-D477D49DA34F}" type="pres">
      <dgm:prSet presAssocID="{23286887-DE94-594E-8B13-A7AFEC8CB46C}" presName="Name23" presStyleLbl="parChTrans1D4" presStyleIdx="11" presStyleCnt="16"/>
      <dgm:spPr/>
      <dgm:t>
        <a:bodyPr/>
        <a:lstStyle/>
        <a:p>
          <a:endParaRPr lang="en-US"/>
        </a:p>
      </dgm:t>
    </dgm:pt>
    <dgm:pt modelId="{D7C4F3F7-F73F-6747-9E56-35803FB8A083}" type="pres">
      <dgm:prSet presAssocID="{09334077-B33A-824F-A986-64CC8F7EA3F9}" presName="hierRoot4" presStyleCnt="0"/>
      <dgm:spPr/>
    </dgm:pt>
    <dgm:pt modelId="{D9DC2704-8ABA-6143-8B8F-B702ABEAE44A}" type="pres">
      <dgm:prSet presAssocID="{09334077-B33A-824F-A986-64CC8F7EA3F9}" presName="composite4" presStyleCnt="0"/>
      <dgm:spPr/>
    </dgm:pt>
    <dgm:pt modelId="{BCEBA39F-63DF-0E4B-8AC7-ACCF22FA860F}" type="pres">
      <dgm:prSet presAssocID="{09334077-B33A-824F-A986-64CC8F7EA3F9}" presName="background4" presStyleLbl="node4" presStyleIdx="11" presStyleCnt="16"/>
      <dgm:spPr/>
    </dgm:pt>
    <dgm:pt modelId="{F5577EBD-106E-1140-8136-A003E3567A38}" type="pres">
      <dgm:prSet presAssocID="{09334077-B33A-824F-A986-64CC8F7EA3F9}" presName="text4" presStyleLbl="fgAcc4" presStyleIdx="11" presStyleCnt="16">
        <dgm:presLayoutVars>
          <dgm:chPref val="3"/>
        </dgm:presLayoutVars>
      </dgm:prSet>
      <dgm:spPr/>
      <dgm:t>
        <a:bodyPr/>
        <a:lstStyle/>
        <a:p>
          <a:endParaRPr lang="en-US"/>
        </a:p>
      </dgm:t>
    </dgm:pt>
    <dgm:pt modelId="{EC194AF1-1538-9C41-BE5A-518ECA7D7BC9}" type="pres">
      <dgm:prSet presAssocID="{09334077-B33A-824F-A986-64CC8F7EA3F9}" presName="hierChild5" presStyleCnt="0"/>
      <dgm:spPr/>
    </dgm:pt>
    <dgm:pt modelId="{7B8BCF83-1A5D-2442-A38D-B0EA693508AF}" type="pres">
      <dgm:prSet presAssocID="{72F610BF-2C4B-1E42-A38D-AB45765DC3B7}" presName="Name23" presStyleLbl="parChTrans1D4" presStyleIdx="12" presStyleCnt="16"/>
      <dgm:spPr/>
      <dgm:t>
        <a:bodyPr/>
        <a:lstStyle/>
        <a:p>
          <a:endParaRPr lang="en-US"/>
        </a:p>
      </dgm:t>
    </dgm:pt>
    <dgm:pt modelId="{C3150B57-4ECE-FA4F-A8DB-25CA049279BF}" type="pres">
      <dgm:prSet presAssocID="{3A81C10D-86F2-9546-961D-4377C4FA28FA}" presName="hierRoot4" presStyleCnt="0"/>
      <dgm:spPr/>
    </dgm:pt>
    <dgm:pt modelId="{0200EDAC-E361-5B47-872E-2E79B862B36B}" type="pres">
      <dgm:prSet presAssocID="{3A81C10D-86F2-9546-961D-4377C4FA28FA}" presName="composite4" presStyleCnt="0"/>
      <dgm:spPr/>
    </dgm:pt>
    <dgm:pt modelId="{F7CD8B13-4EA0-DB4E-878F-19531B269BF8}" type="pres">
      <dgm:prSet presAssocID="{3A81C10D-86F2-9546-961D-4377C4FA28FA}" presName="background4" presStyleLbl="node4" presStyleIdx="12" presStyleCnt="16"/>
      <dgm:spPr/>
    </dgm:pt>
    <dgm:pt modelId="{FA324DE0-8B3D-E746-BC7B-AE178953D5C9}" type="pres">
      <dgm:prSet presAssocID="{3A81C10D-86F2-9546-961D-4377C4FA28FA}" presName="text4" presStyleLbl="fgAcc4" presStyleIdx="12" presStyleCnt="16">
        <dgm:presLayoutVars>
          <dgm:chPref val="3"/>
        </dgm:presLayoutVars>
      </dgm:prSet>
      <dgm:spPr/>
      <dgm:t>
        <a:bodyPr/>
        <a:lstStyle/>
        <a:p>
          <a:endParaRPr lang="en-US"/>
        </a:p>
      </dgm:t>
    </dgm:pt>
    <dgm:pt modelId="{80DBF10E-4B01-B444-8D75-3C0F9CF70B61}" type="pres">
      <dgm:prSet presAssocID="{3A81C10D-86F2-9546-961D-4377C4FA28FA}" presName="hierChild5" presStyleCnt="0"/>
      <dgm:spPr/>
    </dgm:pt>
    <dgm:pt modelId="{CF3FA2DF-01BD-AF47-8540-879C486906C7}" type="pres">
      <dgm:prSet presAssocID="{7EFEC927-64C6-7648-AB5F-361DD3FC9D49}" presName="Name17" presStyleLbl="parChTrans1D3" presStyleIdx="5" presStyleCnt="6"/>
      <dgm:spPr/>
      <dgm:t>
        <a:bodyPr/>
        <a:lstStyle/>
        <a:p>
          <a:endParaRPr lang="en-US"/>
        </a:p>
      </dgm:t>
    </dgm:pt>
    <dgm:pt modelId="{FE71DC7E-3C07-C042-A691-1F11152FDFA2}" type="pres">
      <dgm:prSet presAssocID="{047BEFCE-50D7-C84C-B462-8717C61EB84C}" presName="hierRoot3" presStyleCnt="0"/>
      <dgm:spPr/>
    </dgm:pt>
    <dgm:pt modelId="{4F4E800D-617E-8240-99C6-3204A7F194EF}" type="pres">
      <dgm:prSet presAssocID="{047BEFCE-50D7-C84C-B462-8717C61EB84C}" presName="composite3" presStyleCnt="0"/>
      <dgm:spPr/>
    </dgm:pt>
    <dgm:pt modelId="{BFAC07A3-44D0-084C-AB18-7D361A99A93F}" type="pres">
      <dgm:prSet presAssocID="{047BEFCE-50D7-C84C-B462-8717C61EB84C}" presName="background3" presStyleLbl="node3" presStyleIdx="5" presStyleCnt="6"/>
      <dgm:spPr/>
    </dgm:pt>
    <dgm:pt modelId="{55864D8C-48A1-AC46-BAFA-12839E203F76}" type="pres">
      <dgm:prSet presAssocID="{047BEFCE-50D7-C84C-B462-8717C61EB84C}" presName="text3" presStyleLbl="fgAcc3" presStyleIdx="5" presStyleCnt="6">
        <dgm:presLayoutVars>
          <dgm:chPref val="3"/>
        </dgm:presLayoutVars>
      </dgm:prSet>
      <dgm:spPr/>
      <dgm:t>
        <a:bodyPr/>
        <a:lstStyle/>
        <a:p>
          <a:endParaRPr lang="en-US"/>
        </a:p>
      </dgm:t>
    </dgm:pt>
    <dgm:pt modelId="{923A473A-9A12-5A41-8A12-3BB149D0BF7C}" type="pres">
      <dgm:prSet presAssocID="{047BEFCE-50D7-C84C-B462-8717C61EB84C}" presName="hierChild4" presStyleCnt="0"/>
      <dgm:spPr/>
    </dgm:pt>
    <dgm:pt modelId="{1640CB7C-65B2-054A-B681-10D75DF15C02}" type="pres">
      <dgm:prSet presAssocID="{92BBA5FD-43B9-D44E-A41E-A077751E7D6B}" presName="Name23" presStyleLbl="parChTrans1D4" presStyleIdx="13" presStyleCnt="16"/>
      <dgm:spPr/>
      <dgm:t>
        <a:bodyPr/>
        <a:lstStyle/>
        <a:p>
          <a:endParaRPr lang="en-US"/>
        </a:p>
      </dgm:t>
    </dgm:pt>
    <dgm:pt modelId="{91C67564-88DF-DC4D-9376-EF39A7CEE2C6}" type="pres">
      <dgm:prSet presAssocID="{2C534A71-570E-414F-9921-29437FD0A61B}" presName="hierRoot4" presStyleCnt="0"/>
      <dgm:spPr/>
    </dgm:pt>
    <dgm:pt modelId="{6099FDB2-521B-CD4A-88C1-DBB17CB714BF}" type="pres">
      <dgm:prSet presAssocID="{2C534A71-570E-414F-9921-29437FD0A61B}" presName="composite4" presStyleCnt="0"/>
      <dgm:spPr/>
    </dgm:pt>
    <dgm:pt modelId="{FBEE83CC-5828-DA48-8121-631FC4FCC639}" type="pres">
      <dgm:prSet presAssocID="{2C534A71-570E-414F-9921-29437FD0A61B}" presName="background4" presStyleLbl="node4" presStyleIdx="13" presStyleCnt="16"/>
      <dgm:spPr/>
    </dgm:pt>
    <dgm:pt modelId="{22276705-AC73-D54D-B3F6-41AE5ED79766}" type="pres">
      <dgm:prSet presAssocID="{2C534A71-570E-414F-9921-29437FD0A61B}" presName="text4" presStyleLbl="fgAcc4" presStyleIdx="13" presStyleCnt="16">
        <dgm:presLayoutVars>
          <dgm:chPref val="3"/>
        </dgm:presLayoutVars>
      </dgm:prSet>
      <dgm:spPr/>
      <dgm:t>
        <a:bodyPr/>
        <a:lstStyle/>
        <a:p>
          <a:endParaRPr lang="en-US"/>
        </a:p>
      </dgm:t>
    </dgm:pt>
    <dgm:pt modelId="{0F9B7DB0-974F-1D43-A0D4-31CA41E306B4}" type="pres">
      <dgm:prSet presAssocID="{2C534A71-570E-414F-9921-29437FD0A61B}" presName="hierChild5" presStyleCnt="0"/>
      <dgm:spPr/>
    </dgm:pt>
    <dgm:pt modelId="{233695F9-20B7-AD41-9BB1-537A087FEA3C}" type="pres">
      <dgm:prSet presAssocID="{D74E8F55-28B0-1449-BB42-848D03C83A07}" presName="Name23" presStyleLbl="parChTrans1D4" presStyleIdx="14" presStyleCnt="16"/>
      <dgm:spPr/>
      <dgm:t>
        <a:bodyPr/>
        <a:lstStyle/>
        <a:p>
          <a:endParaRPr lang="en-US"/>
        </a:p>
      </dgm:t>
    </dgm:pt>
    <dgm:pt modelId="{58112B83-0762-7543-AB3F-9ADB0B91BFD5}" type="pres">
      <dgm:prSet presAssocID="{1DFA0526-D1AE-8244-9B74-685929EA07A9}" presName="hierRoot4" presStyleCnt="0"/>
      <dgm:spPr/>
    </dgm:pt>
    <dgm:pt modelId="{3C746C82-5535-3B48-8225-E62AD9777B79}" type="pres">
      <dgm:prSet presAssocID="{1DFA0526-D1AE-8244-9B74-685929EA07A9}" presName="composite4" presStyleCnt="0"/>
      <dgm:spPr/>
    </dgm:pt>
    <dgm:pt modelId="{A5A61364-026C-7F4C-9380-E28460DA2CED}" type="pres">
      <dgm:prSet presAssocID="{1DFA0526-D1AE-8244-9B74-685929EA07A9}" presName="background4" presStyleLbl="node4" presStyleIdx="14" presStyleCnt="16"/>
      <dgm:spPr/>
    </dgm:pt>
    <dgm:pt modelId="{60FFA547-FCB7-C04F-BDDB-0C399FE9B475}" type="pres">
      <dgm:prSet presAssocID="{1DFA0526-D1AE-8244-9B74-685929EA07A9}" presName="text4" presStyleLbl="fgAcc4" presStyleIdx="14" presStyleCnt="16">
        <dgm:presLayoutVars>
          <dgm:chPref val="3"/>
        </dgm:presLayoutVars>
      </dgm:prSet>
      <dgm:spPr/>
      <dgm:t>
        <a:bodyPr/>
        <a:lstStyle/>
        <a:p>
          <a:endParaRPr lang="en-US"/>
        </a:p>
      </dgm:t>
    </dgm:pt>
    <dgm:pt modelId="{0C59FE7B-75A9-384F-B428-0C6ABCF78767}" type="pres">
      <dgm:prSet presAssocID="{1DFA0526-D1AE-8244-9B74-685929EA07A9}" presName="hierChild5" presStyleCnt="0"/>
      <dgm:spPr/>
    </dgm:pt>
    <dgm:pt modelId="{37D52545-C531-A24E-AD5E-0932D0F664A1}" type="pres">
      <dgm:prSet presAssocID="{EDEBE951-9924-9A44-B68E-7DE4554B47B2}" presName="Name23" presStyleLbl="parChTrans1D4" presStyleIdx="15" presStyleCnt="16"/>
      <dgm:spPr/>
      <dgm:t>
        <a:bodyPr/>
        <a:lstStyle/>
        <a:p>
          <a:endParaRPr lang="en-US"/>
        </a:p>
      </dgm:t>
    </dgm:pt>
    <dgm:pt modelId="{6EC17539-A5C5-144F-8520-C15958419F70}" type="pres">
      <dgm:prSet presAssocID="{673F6D0B-9C4E-A641-BE42-3B22377D523C}" presName="hierRoot4" presStyleCnt="0"/>
      <dgm:spPr/>
    </dgm:pt>
    <dgm:pt modelId="{7DFDB140-FFBB-E840-81BC-5400E79E3832}" type="pres">
      <dgm:prSet presAssocID="{673F6D0B-9C4E-A641-BE42-3B22377D523C}" presName="composite4" presStyleCnt="0"/>
      <dgm:spPr/>
    </dgm:pt>
    <dgm:pt modelId="{9150D0B0-9B69-FA48-ABED-C900B5E97B43}" type="pres">
      <dgm:prSet presAssocID="{673F6D0B-9C4E-A641-BE42-3B22377D523C}" presName="background4" presStyleLbl="node4" presStyleIdx="15" presStyleCnt="16"/>
      <dgm:spPr/>
    </dgm:pt>
    <dgm:pt modelId="{D968E578-B316-7743-A82A-040A191D3085}" type="pres">
      <dgm:prSet presAssocID="{673F6D0B-9C4E-A641-BE42-3B22377D523C}" presName="text4" presStyleLbl="fgAcc4" presStyleIdx="15" presStyleCnt="16">
        <dgm:presLayoutVars>
          <dgm:chPref val="3"/>
        </dgm:presLayoutVars>
      </dgm:prSet>
      <dgm:spPr/>
      <dgm:t>
        <a:bodyPr/>
        <a:lstStyle/>
        <a:p>
          <a:endParaRPr lang="en-US"/>
        </a:p>
      </dgm:t>
    </dgm:pt>
    <dgm:pt modelId="{0732D1EC-FB54-9946-9EC1-4AEE2F2CEDC9}" type="pres">
      <dgm:prSet presAssocID="{673F6D0B-9C4E-A641-BE42-3B22377D523C}" presName="hierChild5" presStyleCnt="0"/>
      <dgm:spPr/>
    </dgm:pt>
  </dgm:ptLst>
  <dgm:cxnLst>
    <dgm:cxn modelId="{EB01FDC6-19E5-1047-9933-A431BC08EF24}" type="presOf" srcId="{51CB60C3-4A34-2442-BD37-A144FB8A9F1A}" destId="{DE73280C-29C7-AD47-B427-257D318489E7}" srcOrd="0" destOrd="0" presId="urn:microsoft.com/office/officeart/2005/8/layout/hierarchy1"/>
    <dgm:cxn modelId="{952FAF47-D97A-154E-B3A1-F1EBCF05DEBC}" srcId="{6B137036-E8E5-014A-8BE0-29F5C4726E32}" destId="{518B459C-2312-B04F-BF42-97146ED51F86}" srcOrd="1" destOrd="0" parTransId="{F3DDBC59-45F0-8F4A-ABE6-2BABCA0324CE}" sibTransId="{32EEE1F0-F994-1B42-A26D-31486E63E60F}"/>
    <dgm:cxn modelId="{B36987B6-E07E-7649-826E-854E2519D5F0}" type="presOf" srcId="{12E3A000-6135-A44D-87CE-65F17A86258F}" destId="{18247605-CC18-AB44-963F-617788F1E182}" srcOrd="0" destOrd="0" presId="urn:microsoft.com/office/officeart/2005/8/layout/hierarchy1"/>
    <dgm:cxn modelId="{890C57FF-C298-FF48-AD9C-025CADD25C0E}" srcId="{4A1D6B3A-2293-6245-A8A3-1320CD263F8D}" destId="{F99A6EDB-36E5-DD4A-AEF6-72CBB67FBD7A}" srcOrd="0" destOrd="0" parTransId="{8E9190C9-4F4D-254D-8BA8-808D712D5313}" sibTransId="{314CC64C-2F09-8742-B9AA-CDB4E73AB590}"/>
    <dgm:cxn modelId="{A9D17160-1104-8C4F-B848-6E02CB265249}" type="presOf" srcId="{C9411090-2839-EE4E-B79C-8B360B2F252E}" destId="{B3E0204E-BE97-5F43-B632-7E515187FE6E}" srcOrd="0" destOrd="0" presId="urn:microsoft.com/office/officeart/2005/8/layout/hierarchy1"/>
    <dgm:cxn modelId="{CF8E2F2D-7058-D74A-B99F-9D5C72D61FEA}" srcId="{5C8678DF-13AC-4A49-BF8D-63E044418B90}" destId="{A213D281-6091-EA4D-A10F-78162259C24C}" srcOrd="1" destOrd="0" parTransId="{330375B1-F2A9-2A4F-B144-A18FF959BC35}" sibTransId="{B0FE76BD-96DC-7342-8BDE-88EA8E915815}"/>
    <dgm:cxn modelId="{02EA2F84-32BB-8747-B1EC-66D13979BF14}" srcId="{D442C324-979C-3840-AA5A-AA0636E387F7}" destId="{5C8678DF-13AC-4A49-BF8D-63E044418B90}" srcOrd="1" destOrd="0" parTransId="{0AB7B2FE-FF3F-B04E-AAFA-84BC4B4D4054}" sibTransId="{E9D1044A-C224-FE45-B1A0-E732735C19E0}"/>
    <dgm:cxn modelId="{A2BEE94D-28FA-514C-A9FA-593902A80A7A}" srcId="{047BEFCE-50D7-C84C-B462-8717C61EB84C}" destId="{673F6D0B-9C4E-A641-BE42-3B22377D523C}" srcOrd="2" destOrd="0" parTransId="{EDEBE951-9924-9A44-B68E-7DE4554B47B2}" sibTransId="{683F8F3D-F887-D949-9082-A2DF4254ECF6}"/>
    <dgm:cxn modelId="{01521BF9-D17D-DD46-8264-5588626C003E}" type="presOf" srcId="{1C862158-E375-264D-9841-C32252747292}" destId="{6A8B35D2-4ECC-9544-8541-E1807F56388F}" srcOrd="0" destOrd="0" presId="urn:microsoft.com/office/officeart/2005/8/layout/hierarchy1"/>
    <dgm:cxn modelId="{DCF2DFC4-2EAA-7140-A4D2-B12BF36DD9FD}" type="presOf" srcId="{F980A4DF-B631-0440-85FC-B9B88F3E6BE0}" destId="{55611601-3A33-9D44-8EAC-30296F6AAB7A}" srcOrd="0" destOrd="0" presId="urn:microsoft.com/office/officeart/2005/8/layout/hierarchy1"/>
    <dgm:cxn modelId="{3A71522A-4C78-D34D-9480-95938E41F9D7}" type="presOf" srcId="{314B9196-1473-B847-9E2D-BBB5E974FF5D}" destId="{FAA5CA3F-759B-824D-92BA-3CA616B87B8A}" srcOrd="0" destOrd="0" presId="urn:microsoft.com/office/officeart/2005/8/layout/hierarchy1"/>
    <dgm:cxn modelId="{685B9831-ACC2-D045-9EEE-177B9E362E38}" srcId="{69FD27CC-EC24-9246-8D3F-40082C413C88}" destId="{D8B2B4EE-906D-C341-A027-9DB13B56327C}" srcOrd="2" destOrd="0" parTransId="{D26D9B7E-21CB-9C44-90C1-96D203183AF5}" sibTransId="{144E7033-5AE8-414C-B6CA-A80842044DC2}"/>
    <dgm:cxn modelId="{5F2746AD-84DE-9D41-AFE2-7BF784D2B560}" type="presOf" srcId="{F99A6EDB-36E5-DD4A-AEF6-72CBB67FBD7A}" destId="{85B70441-8FD5-5948-A0B7-1745854AE3CF}" srcOrd="0" destOrd="0" presId="urn:microsoft.com/office/officeart/2005/8/layout/hierarchy1"/>
    <dgm:cxn modelId="{A926B72B-0788-1741-A263-497D9BD313C3}" srcId="{64E098E7-3449-7B4A-9C43-71094416E9F9}" destId="{51CB60C3-4A34-2442-BD37-A144FB8A9F1A}" srcOrd="1" destOrd="0" parTransId="{397C09B5-F89D-294F-9FDE-9F77487A494F}" sibTransId="{24811B09-4508-CB42-BA63-AAA9EDF3B0B3}"/>
    <dgm:cxn modelId="{A623CC63-951E-EB43-B7FD-EF73ABEAC765}" srcId="{047BEFCE-50D7-C84C-B462-8717C61EB84C}" destId="{2C534A71-570E-414F-9921-29437FD0A61B}" srcOrd="0" destOrd="0" parTransId="{92BBA5FD-43B9-D44E-A41E-A077751E7D6B}" sibTransId="{0EC9DFC6-0C11-AD4B-B3DB-8A9AD34D8345}"/>
    <dgm:cxn modelId="{97293307-91D7-7C49-9DB0-04FAAC62FC6A}" type="presOf" srcId="{F3DDBC59-45F0-8F4A-ABE6-2BABCA0324CE}" destId="{A024F2C1-6A20-1E43-9274-B647A28E8AB8}" srcOrd="0" destOrd="0" presId="urn:microsoft.com/office/officeart/2005/8/layout/hierarchy1"/>
    <dgm:cxn modelId="{2CDA6B23-63A5-ED42-A69B-C61C897D1F5A}" srcId="{5C8678DF-13AC-4A49-BF8D-63E044418B90}" destId="{64E098E7-3449-7B4A-9C43-71094416E9F9}" srcOrd="0" destOrd="0" parTransId="{65A1ABA7-846E-0541-A9D1-91CDFBFE348C}" sibTransId="{B0E388CE-4E12-894E-9726-3848FA299C3B}"/>
    <dgm:cxn modelId="{C85E5FF5-CC69-7542-87E3-F53BFFFB33C5}" srcId="{047BEFCE-50D7-C84C-B462-8717C61EB84C}" destId="{1DFA0526-D1AE-8244-9B74-685929EA07A9}" srcOrd="1" destOrd="0" parTransId="{D74E8F55-28B0-1449-BB42-848D03C83A07}" sibTransId="{2BAEE787-C3BB-084A-973F-41F2D4C4B817}"/>
    <dgm:cxn modelId="{4815719C-61D3-A545-B1DF-32C91A52785F}" type="presOf" srcId="{3A81C10D-86F2-9546-961D-4377C4FA28FA}" destId="{FA324DE0-8B3D-E746-BC7B-AE178953D5C9}" srcOrd="0" destOrd="0" presId="urn:microsoft.com/office/officeart/2005/8/layout/hierarchy1"/>
    <dgm:cxn modelId="{35A0A434-64A3-AD4B-BF80-9A7466417CD5}" type="presOf" srcId="{D8B2B4EE-906D-C341-A027-9DB13B56327C}" destId="{927995AE-BB49-6D4E-BF33-831FD62FB14B}" srcOrd="0" destOrd="0" presId="urn:microsoft.com/office/officeart/2005/8/layout/hierarchy1"/>
    <dgm:cxn modelId="{8CCB280B-05FD-564A-B493-DA8B130C989B}" srcId="{6B137036-E8E5-014A-8BE0-29F5C4726E32}" destId="{1C862158-E375-264D-9841-C32252747292}" srcOrd="0" destOrd="0" parTransId="{6D3EAF21-017B-7E47-BA73-C540D28819FB}" sibTransId="{D147419F-A8DF-D947-A86E-CEEEB7B239F8}"/>
    <dgm:cxn modelId="{FB4E38AB-F56E-894F-BF91-45E891C2E8C7}" type="presOf" srcId="{4ACE3004-015E-7842-BEB2-CB8D97C58C73}" destId="{30FEC9FA-96E3-3041-819F-0F526CF441D9}" srcOrd="0" destOrd="0" presId="urn:microsoft.com/office/officeart/2005/8/layout/hierarchy1"/>
    <dgm:cxn modelId="{6DC0AE17-6F70-AA4F-AC6B-19CB9089779C}" type="presOf" srcId="{851F8F58-3751-A14F-BDFB-DDFEB23CDECE}" destId="{5702A89A-DC52-9C46-9B02-580E3D9B64DA}" srcOrd="0" destOrd="0" presId="urn:microsoft.com/office/officeart/2005/8/layout/hierarchy1"/>
    <dgm:cxn modelId="{32D5092F-0630-FC4A-B643-5FC4FC94A21A}" srcId="{51CB60C3-4A34-2442-BD37-A144FB8A9F1A}" destId="{314B9196-1473-B847-9E2D-BBB5E974FF5D}" srcOrd="0" destOrd="0" parTransId="{5B71C1A7-AA1C-614E-89B5-8DA7126882CE}" sibTransId="{513E41C6-1CD3-0446-88F0-1626ED611D49}"/>
    <dgm:cxn modelId="{0B042C16-B66E-7145-A845-43C9EF234484}" type="presOf" srcId="{D26D9B7E-21CB-9C44-90C1-96D203183AF5}" destId="{3EEDA285-1970-1D46-9EB9-147D865CF3A9}" srcOrd="0" destOrd="0" presId="urn:microsoft.com/office/officeart/2005/8/layout/hierarchy1"/>
    <dgm:cxn modelId="{BF3E365C-32E6-B840-972E-92604D005580}" type="presOf" srcId="{6D3EAF21-017B-7E47-BA73-C540D28819FB}" destId="{9A158C36-03F1-F743-A3B1-0CFE5ED9484B}" srcOrd="0" destOrd="0" presId="urn:microsoft.com/office/officeart/2005/8/layout/hierarchy1"/>
    <dgm:cxn modelId="{BDD8DDE2-A4DB-CB4D-B4C5-974875C11524}" type="presOf" srcId="{A213D281-6091-EA4D-A10F-78162259C24C}" destId="{D90E83F9-39F7-9045-8AEE-DBC35B1F9686}" srcOrd="0" destOrd="0" presId="urn:microsoft.com/office/officeart/2005/8/layout/hierarchy1"/>
    <dgm:cxn modelId="{5812EF96-889A-6C4B-81AB-8753E7E93C76}" type="presOf" srcId="{C632F9BF-DFEF-DE4C-9A2F-5B240D13D05B}" destId="{5D6BDB73-C4B7-C048-B1A6-CE650313D413}" srcOrd="0" destOrd="0" presId="urn:microsoft.com/office/officeart/2005/8/layout/hierarchy1"/>
    <dgm:cxn modelId="{C531F747-C570-174D-AB42-577D10E68C95}" srcId="{51CB60C3-4A34-2442-BD37-A144FB8A9F1A}" destId="{F980A4DF-B631-0440-85FC-B9B88F3E6BE0}" srcOrd="1" destOrd="0" parTransId="{145192E0-DF0F-B740-B6C0-F34F7DEA09EF}" sibTransId="{86D3E9BF-8332-B748-A245-11607B0F6ABB}"/>
    <dgm:cxn modelId="{1AB1BDE9-35D3-BF4C-ABCD-0B9F7F099910}" type="presOf" srcId="{0AB7B2FE-FF3F-B04E-AAFA-84BC4B4D4054}" destId="{399AEB7C-4485-4241-98AE-0FF1F3000DCA}" srcOrd="0" destOrd="0" presId="urn:microsoft.com/office/officeart/2005/8/layout/hierarchy1"/>
    <dgm:cxn modelId="{C6F89465-BFB9-2049-B004-B2C07F8A1F00}" srcId="{64E098E7-3449-7B4A-9C43-71094416E9F9}" destId="{44F264E4-5357-124A-ADA4-F4F9626FADB2}" srcOrd="0" destOrd="0" parTransId="{2265F63D-4DD8-7E46-B108-53EFCFA805F7}" sibTransId="{439F54FF-DC8A-7246-B916-1E2B707B5F4F}"/>
    <dgm:cxn modelId="{9E4D67EE-C190-7444-B97E-B5B0B574E1B6}" type="presOf" srcId="{7CFB8F03-51A8-FF42-BCC1-3A6EC510A734}" destId="{D70DEA0E-8520-2540-831B-4FA2C2611548}" srcOrd="0" destOrd="0" presId="urn:microsoft.com/office/officeart/2005/8/layout/hierarchy1"/>
    <dgm:cxn modelId="{D57E8130-7F10-CD4A-8454-6A51FE29C985}" type="presOf" srcId="{397C09B5-F89D-294F-9FDE-9F77487A494F}" destId="{E67CCEAE-7D80-4B4D-8D08-6B0EEF385A76}" srcOrd="0" destOrd="0" presId="urn:microsoft.com/office/officeart/2005/8/layout/hierarchy1"/>
    <dgm:cxn modelId="{5EC361E5-25AD-5849-A871-90CD30FDDFD6}" type="presOf" srcId="{6B137036-E8E5-014A-8BE0-29F5C4726E32}" destId="{0A51E13A-D55B-2E4C-A58B-2676DECBA1CF}" srcOrd="0" destOrd="0" presId="urn:microsoft.com/office/officeart/2005/8/layout/hierarchy1"/>
    <dgm:cxn modelId="{2CBC9957-9BB8-534F-8329-A9E4659F7183}" type="presOf" srcId="{1DFA0526-D1AE-8244-9B74-685929EA07A9}" destId="{60FFA547-FCB7-C04F-BDDB-0C399FE9B475}" srcOrd="0" destOrd="0" presId="urn:microsoft.com/office/officeart/2005/8/layout/hierarchy1"/>
    <dgm:cxn modelId="{6992DBE2-FA78-2F44-9FCE-17DD7B76EF1B}" srcId="{791C91B1-69DB-B342-89AC-C1FFA75CEEA8}" destId="{69FD27CC-EC24-9246-8D3F-40082C413C88}" srcOrd="2" destOrd="0" parTransId="{C632F9BF-DFEF-DE4C-9A2F-5B240D13D05B}" sibTransId="{C3C91D8C-0B61-C74C-B37B-0107C8DAFD50}"/>
    <dgm:cxn modelId="{30099105-8494-A14A-B5AA-4FE7DBF4993D}" srcId="{5C8678DF-13AC-4A49-BF8D-63E044418B90}" destId="{047BEFCE-50D7-C84C-B462-8717C61EB84C}" srcOrd="2" destOrd="0" parTransId="{7EFEC927-64C6-7648-AB5F-361DD3FC9D49}" sibTransId="{D431D5CB-408A-1C4D-87B1-645BF4B22EB4}"/>
    <dgm:cxn modelId="{09558328-8DD6-0143-9324-6194C562418F}" type="presOf" srcId="{047BEFCE-50D7-C84C-B462-8717C61EB84C}" destId="{55864D8C-48A1-AC46-BAFA-12839E203F76}" srcOrd="0" destOrd="0" presId="urn:microsoft.com/office/officeart/2005/8/layout/hierarchy1"/>
    <dgm:cxn modelId="{B8FE647C-3F48-DF45-AD66-53C0F4962974}" type="presOf" srcId="{330375B1-F2A9-2A4F-B144-A18FF959BC35}" destId="{02268241-BBC4-6544-96CA-2B2336FFC79F}" srcOrd="0" destOrd="0" presId="urn:microsoft.com/office/officeart/2005/8/layout/hierarchy1"/>
    <dgm:cxn modelId="{BE624C1F-DE54-264C-B4E1-D73DA5815B34}" type="presOf" srcId="{518B459C-2312-B04F-BF42-97146ED51F86}" destId="{D4AF643F-59EE-1C48-B0EF-E9B2667E61A8}" srcOrd="0" destOrd="0" presId="urn:microsoft.com/office/officeart/2005/8/layout/hierarchy1"/>
    <dgm:cxn modelId="{40039C0D-BFCC-B040-9FB6-CB6A44190ABE}" type="presOf" srcId="{4A1D6B3A-2293-6245-A8A3-1320CD263F8D}" destId="{49BEA11A-6C57-C74E-B1F5-F771BED0B5A9}" srcOrd="0" destOrd="0" presId="urn:microsoft.com/office/officeart/2005/8/layout/hierarchy1"/>
    <dgm:cxn modelId="{579E75FE-9160-5E46-99E1-463907914FB7}" type="presOf" srcId="{92BBA5FD-43B9-D44E-A41E-A077751E7D6B}" destId="{1640CB7C-65B2-054A-B681-10D75DF15C02}" srcOrd="0" destOrd="0" presId="urn:microsoft.com/office/officeart/2005/8/layout/hierarchy1"/>
    <dgm:cxn modelId="{6FE20FD6-EA82-904A-95EC-CC540D0E5EF3}" type="presOf" srcId="{5C8678DF-13AC-4A49-BF8D-63E044418B90}" destId="{41E2835E-98C5-EF49-9E5C-AD086C3D2F45}" srcOrd="0" destOrd="0" presId="urn:microsoft.com/office/officeart/2005/8/layout/hierarchy1"/>
    <dgm:cxn modelId="{9117EAE0-32DA-0344-B698-91D0830BC89C}" type="presOf" srcId="{1E1182A3-DF48-0743-B5BE-997642EF78FC}" destId="{23E55325-DABE-DA40-8046-8AA19E980D5B}" srcOrd="0" destOrd="0" presId="urn:microsoft.com/office/officeart/2005/8/layout/hierarchy1"/>
    <dgm:cxn modelId="{56DF89EA-C0C6-1B4B-8D41-EF95691D7AFF}" type="presOf" srcId="{72F610BF-2C4B-1E42-A38D-AB45765DC3B7}" destId="{7B8BCF83-1A5D-2442-A38D-B0EA693508AF}" srcOrd="0" destOrd="0" presId="urn:microsoft.com/office/officeart/2005/8/layout/hierarchy1"/>
    <dgm:cxn modelId="{27BB00CA-4CFC-7E48-940F-BBEB2D87A74C}" type="presOf" srcId="{432443D9-7412-D84B-9DE5-EF1CFD65003A}" destId="{C5DF801C-9F86-F24A-8145-28B7DF4D6CFA}" srcOrd="0" destOrd="0" presId="urn:microsoft.com/office/officeart/2005/8/layout/hierarchy1"/>
    <dgm:cxn modelId="{A3C35BF8-59D4-AA49-A4FF-62D087140887}" type="presOf" srcId="{7EFEC927-64C6-7648-AB5F-361DD3FC9D49}" destId="{CF3FA2DF-01BD-AF47-8540-879C486906C7}" srcOrd="0" destOrd="0" presId="urn:microsoft.com/office/officeart/2005/8/layout/hierarchy1"/>
    <dgm:cxn modelId="{9669A2A2-6575-EC4F-88BF-C88F2AD9BD90}" type="presOf" srcId="{44F264E4-5357-124A-ADA4-F4F9626FADB2}" destId="{10B26BF5-9C37-A04F-A7E2-02309B7D2282}" srcOrd="0" destOrd="0" presId="urn:microsoft.com/office/officeart/2005/8/layout/hierarchy1"/>
    <dgm:cxn modelId="{4EF90144-D68B-634B-B56E-B82BCC611447}" srcId="{791C91B1-69DB-B342-89AC-C1FFA75CEEA8}" destId="{6B137036-E8E5-014A-8BE0-29F5C4726E32}" srcOrd="0" destOrd="0" parTransId="{851F8F58-3751-A14F-BDFB-DDFEB23CDECE}" sibTransId="{0D49753B-675D-A64B-9DF7-63BBAB9A725D}"/>
    <dgm:cxn modelId="{4CD9576E-1993-644A-A2E0-B7FC49686291}" type="presOf" srcId="{FD2DC9C9-CCF8-6D47-A8AF-7E8440F609A2}" destId="{041119CE-361E-6D4A-9899-F5AB6B6B890A}" srcOrd="0" destOrd="0" presId="urn:microsoft.com/office/officeart/2005/8/layout/hierarchy1"/>
    <dgm:cxn modelId="{6510564D-D423-FB4C-95CD-7DA4E2D44D23}" type="presOf" srcId="{23286887-DE94-594E-8B13-A7AFEC8CB46C}" destId="{A169A7AD-DFFE-0C40-8583-D477D49DA34F}" srcOrd="0" destOrd="0" presId="urn:microsoft.com/office/officeart/2005/8/layout/hierarchy1"/>
    <dgm:cxn modelId="{C4D068E3-E8FA-514A-B0F0-339B3C1C4A24}" srcId="{4A1D6B3A-2293-6245-A8A3-1320CD263F8D}" destId="{4ACE3004-015E-7842-BEB2-CB8D97C58C73}" srcOrd="1" destOrd="0" parTransId="{432443D9-7412-D84B-9DE5-EF1CFD65003A}" sibTransId="{C3131FAE-7AAF-8F41-A70B-BBC438B046F5}"/>
    <dgm:cxn modelId="{2E7238CA-7E3F-0942-89F3-0B6903D73B3E}" srcId="{D442C324-979C-3840-AA5A-AA0636E387F7}" destId="{791C91B1-69DB-B342-89AC-C1FFA75CEEA8}" srcOrd="0" destOrd="0" parTransId="{B5989DB7-93DA-3042-A4BC-2D978523631A}" sibTransId="{6E82CB1A-786E-5947-9EC8-3AD738406F12}"/>
    <dgm:cxn modelId="{6C2FFA3D-B05D-614B-B57D-CEEC21A3C01D}" type="presOf" srcId="{D442C324-979C-3840-AA5A-AA0636E387F7}" destId="{048F2AA8-3106-1549-A86D-816408887124}" srcOrd="0" destOrd="0" presId="urn:microsoft.com/office/officeart/2005/8/layout/hierarchy1"/>
    <dgm:cxn modelId="{3356D84E-0762-EA42-A1FD-8EBC795DF4AD}" type="presOf" srcId="{B9C7D2AD-9F44-2C44-A77E-72058D5F126A}" destId="{8B9D9512-6CB7-7744-9A7A-2438D181619D}" srcOrd="0" destOrd="0" presId="urn:microsoft.com/office/officeart/2005/8/layout/hierarchy1"/>
    <dgm:cxn modelId="{28998D13-8207-7542-B322-99756C3D2422}" type="presOf" srcId="{69FD27CC-EC24-9246-8D3F-40082C413C88}" destId="{B7489E5F-AADD-7944-A55A-9975D3C2DB1B}" srcOrd="0" destOrd="0" presId="urn:microsoft.com/office/officeart/2005/8/layout/hierarchy1"/>
    <dgm:cxn modelId="{F3A28708-3B62-6F47-9C17-AEA74738DA48}" type="presOf" srcId="{B5989DB7-93DA-3042-A4BC-2D978523631A}" destId="{1AC89EAC-2991-7245-8EC8-92F87503F89E}" srcOrd="0" destOrd="0" presId="urn:microsoft.com/office/officeart/2005/8/layout/hierarchy1"/>
    <dgm:cxn modelId="{5C5EBC35-7794-8144-90EB-04A921BA6A06}" type="presOf" srcId="{2265F63D-4DD8-7E46-B108-53EFCFA805F7}" destId="{F57C5B74-6E5F-C246-B9A4-E736AFA6913B}" srcOrd="0" destOrd="0" presId="urn:microsoft.com/office/officeart/2005/8/layout/hierarchy1"/>
    <dgm:cxn modelId="{5286EB80-6A57-CD49-A288-2698EC2144BC}" type="presOf" srcId="{D74E8F55-28B0-1449-BB42-848D03C83A07}" destId="{233695F9-20B7-AD41-9BB1-537A087FEA3C}" srcOrd="0" destOrd="0" presId="urn:microsoft.com/office/officeart/2005/8/layout/hierarchy1"/>
    <dgm:cxn modelId="{83471A1F-E682-EF4A-8B9D-6DAD67759A6B}" type="presOf" srcId="{145192E0-DF0F-B740-B6C0-F34F7DEA09EF}" destId="{C31D8C99-DBEE-0C43-A53A-EA88B35F45CE}" srcOrd="0" destOrd="0" presId="urn:microsoft.com/office/officeart/2005/8/layout/hierarchy1"/>
    <dgm:cxn modelId="{D5AC5F33-DA64-9545-94C2-45E44CDDCAA3}" type="presOf" srcId="{65A1ABA7-846E-0541-A9D1-91CDFBFE348C}" destId="{D2925F18-8606-2E43-AE8E-58431B2489E3}" srcOrd="0" destOrd="0" presId="urn:microsoft.com/office/officeart/2005/8/layout/hierarchy1"/>
    <dgm:cxn modelId="{D3FA292D-56B0-7E45-8745-15F6F4B0F14B}" type="presOf" srcId="{673F6D0B-9C4E-A641-BE42-3B22377D523C}" destId="{D968E578-B316-7743-A82A-040A191D3085}" srcOrd="0" destOrd="0" presId="urn:microsoft.com/office/officeart/2005/8/layout/hierarchy1"/>
    <dgm:cxn modelId="{8C9464FC-EBC5-8949-97B3-EE5FC9970BE5}" type="presOf" srcId="{09334077-B33A-824F-A986-64CC8F7EA3F9}" destId="{F5577EBD-106E-1140-8136-A003E3567A38}" srcOrd="0" destOrd="0" presId="urn:microsoft.com/office/officeart/2005/8/layout/hierarchy1"/>
    <dgm:cxn modelId="{E1F59A07-343F-794C-8CD8-CB7C0DEA12F8}" srcId="{69FD27CC-EC24-9246-8D3F-40082C413C88}" destId="{C9411090-2839-EE4E-B79C-8B360B2F252E}" srcOrd="1" destOrd="0" parTransId="{1E1182A3-DF48-0743-B5BE-997642EF78FC}" sibTransId="{23E6479D-DD94-B947-86F4-FD7391F332CA}"/>
    <dgm:cxn modelId="{6BF25AB5-2F0F-C84E-8FFB-9A57FFBF7B3C}" srcId="{FD2DC9C9-CCF8-6D47-A8AF-7E8440F609A2}" destId="{D442C324-979C-3840-AA5A-AA0636E387F7}" srcOrd="0" destOrd="0" parTransId="{F405F5A3-0A03-1043-8B4C-C8712E0CE354}" sibTransId="{8A89DF82-C8BA-8D45-A9B9-A6D6DB1BD6B6}"/>
    <dgm:cxn modelId="{B08AC3A4-C839-8940-9C12-ECEC2AA6D36B}" type="presOf" srcId="{8E9190C9-4F4D-254D-8BA8-808D712D5313}" destId="{DDA32A11-8AB9-1346-9B7E-CF736C682E0A}" srcOrd="0" destOrd="0" presId="urn:microsoft.com/office/officeart/2005/8/layout/hierarchy1"/>
    <dgm:cxn modelId="{B3C21FE0-39E5-E349-86EE-96B7C6DB0933}" type="presOf" srcId="{EDEBE951-9924-9A44-B68E-7DE4554B47B2}" destId="{37D52545-C531-A24E-AD5E-0932D0F664A1}" srcOrd="0" destOrd="0" presId="urn:microsoft.com/office/officeart/2005/8/layout/hierarchy1"/>
    <dgm:cxn modelId="{51A220EC-0B20-2943-ABDB-C43326B52508}" type="presOf" srcId="{64E098E7-3449-7B4A-9C43-71094416E9F9}" destId="{907A74ED-E37C-2647-B1D4-789A63789E2A}" srcOrd="0" destOrd="0" presId="urn:microsoft.com/office/officeart/2005/8/layout/hierarchy1"/>
    <dgm:cxn modelId="{39B23CCE-BAB8-8548-92E5-9A430829DBBC}" type="presOf" srcId="{5B71C1A7-AA1C-614E-89B5-8DA7126882CE}" destId="{1FB9651F-8479-E741-ADCC-3C1B81C68F05}" srcOrd="0" destOrd="0" presId="urn:microsoft.com/office/officeart/2005/8/layout/hierarchy1"/>
    <dgm:cxn modelId="{3F660F59-8FBC-4749-8ED5-5AE85B9D95BB}" srcId="{A213D281-6091-EA4D-A10F-78162259C24C}" destId="{09334077-B33A-824F-A986-64CC8F7EA3F9}" srcOrd="0" destOrd="0" parTransId="{23286887-DE94-594E-8B13-A7AFEC8CB46C}" sibTransId="{EDCCD6E1-13B9-F04D-AAC1-3569F31129A5}"/>
    <dgm:cxn modelId="{B1744830-82EF-1445-9852-ECBADB925FF7}" type="presOf" srcId="{2C534A71-570E-414F-9921-29437FD0A61B}" destId="{22276705-AC73-D54D-B3F6-41AE5ED79766}" srcOrd="0" destOrd="0" presId="urn:microsoft.com/office/officeart/2005/8/layout/hierarchy1"/>
    <dgm:cxn modelId="{DEC529D8-623B-3B4A-97B0-8B0394751F16}" srcId="{791C91B1-69DB-B342-89AC-C1FFA75CEEA8}" destId="{4A1D6B3A-2293-6245-A8A3-1320CD263F8D}" srcOrd="1" destOrd="0" parTransId="{7CFB8F03-51A8-FF42-BCC1-3A6EC510A734}" sibTransId="{D7ABD4B0-C71A-B14E-A033-1E30C36F59C5}"/>
    <dgm:cxn modelId="{B372126B-DAAD-8D46-BA32-10C0704BB940}" srcId="{A213D281-6091-EA4D-A10F-78162259C24C}" destId="{3A81C10D-86F2-9546-961D-4377C4FA28FA}" srcOrd="1" destOrd="0" parTransId="{72F610BF-2C4B-1E42-A38D-AB45765DC3B7}" sibTransId="{B3A88412-A06C-4349-B6FA-7D9819E2D3F5}"/>
    <dgm:cxn modelId="{B38CCE6D-8051-D44A-930F-D9A35C690E5D}" type="presOf" srcId="{791C91B1-69DB-B342-89AC-C1FFA75CEEA8}" destId="{6FEDD366-0C5B-8F47-B329-80EB5A93F26A}" srcOrd="0" destOrd="0" presId="urn:microsoft.com/office/officeart/2005/8/layout/hierarchy1"/>
    <dgm:cxn modelId="{52F17766-1767-1F4A-8DD7-E4095204A614}" srcId="{69FD27CC-EC24-9246-8D3F-40082C413C88}" destId="{B9C7D2AD-9F44-2C44-A77E-72058D5F126A}" srcOrd="0" destOrd="0" parTransId="{12E3A000-6135-A44D-87CE-65F17A86258F}" sibTransId="{360A7630-D025-2A46-A283-FA2E0119F89F}"/>
    <dgm:cxn modelId="{C833ABD9-3CD1-BC46-9A8E-E519FF16AAB0}" type="presParOf" srcId="{041119CE-361E-6D4A-9899-F5AB6B6B890A}" destId="{731D8AB7-CF94-8041-8E47-BC61C5240D6A}" srcOrd="0" destOrd="0" presId="urn:microsoft.com/office/officeart/2005/8/layout/hierarchy1"/>
    <dgm:cxn modelId="{191A97C4-28D4-7149-AA03-12DF37D47B92}" type="presParOf" srcId="{731D8AB7-CF94-8041-8E47-BC61C5240D6A}" destId="{FA8D638D-511A-CB45-84D0-DC8F18D84E5B}" srcOrd="0" destOrd="0" presId="urn:microsoft.com/office/officeart/2005/8/layout/hierarchy1"/>
    <dgm:cxn modelId="{A2090FBF-C203-2F44-8330-A1A017E5F0FA}" type="presParOf" srcId="{FA8D638D-511A-CB45-84D0-DC8F18D84E5B}" destId="{B583EF7D-CB8E-AF47-A04A-538F36D040F1}" srcOrd="0" destOrd="0" presId="urn:microsoft.com/office/officeart/2005/8/layout/hierarchy1"/>
    <dgm:cxn modelId="{74059A70-3CA6-984B-BD20-63F5842B41B0}" type="presParOf" srcId="{FA8D638D-511A-CB45-84D0-DC8F18D84E5B}" destId="{048F2AA8-3106-1549-A86D-816408887124}" srcOrd="1" destOrd="0" presId="urn:microsoft.com/office/officeart/2005/8/layout/hierarchy1"/>
    <dgm:cxn modelId="{38E4DBB9-3B0D-284A-BAC4-DCE1FCF90F06}" type="presParOf" srcId="{731D8AB7-CF94-8041-8E47-BC61C5240D6A}" destId="{1FDB5EB6-2165-EE42-8379-0CAB53CAA213}" srcOrd="1" destOrd="0" presId="urn:microsoft.com/office/officeart/2005/8/layout/hierarchy1"/>
    <dgm:cxn modelId="{B80F3473-49A3-994A-8CB1-753EF8D0C0C3}" type="presParOf" srcId="{1FDB5EB6-2165-EE42-8379-0CAB53CAA213}" destId="{1AC89EAC-2991-7245-8EC8-92F87503F89E}" srcOrd="0" destOrd="0" presId="urn:microsoft.com/office/officeart/2005/8/layout/hierarchy1"/>
    <dgm:cxn modelId="{B0C1083B-8514-9A4D-B4E9-F2E6358648B0}" type="presParOf" srcId="{1FDB5EB6-2165-EE42-8379-0CAB53CAA213}" destId="{44894C27-37A3-F349-AC2D-056A5F139025}" srcOrd="1" destOrd="0" presId="urn:microsoft.com/office/officeart/2005/8/layout/hierarchy1"/>
    <dgm:cxn modelId="{4783F8AD-14B5-3B42-A64E-4D040A3D1B27}" type="presParOf" srcId="{44894C27-37A3-F349-AC2D-056A5F139025}" destId="{591A2A33-E551-534F-B006-D6CBBFE0D015}" srcOrd="0" destOrd="0" presId="urn:microsoft.com/office/officeart/2005/8/layout/hierarchy1"/>
    <dgm:cxn modelId="{B6885179-5F56-7D4B-A17D-286EB142AEBB}" type="presParOf" srcId="{591A2A33-E551-534F-B006-D6CBBFE0D015}" destId="{DD48E2C9-22D8-1A49-89B2-CCC45CF4953F}" srcOrd="0" destOrd="0" presId="urn:microsoft.com/office/officeart/2005/8/layout/hierarchy1"/>
    <dgm:cxn modelId="{4A2EA899-09DC-8342-8500-9350DCF5BE6C}" type="presParOf" srcId="{591A2A33-E551-534F-B006-D6CBBFE0D015}" destId="{6FEDD366-0C5B-8F47-B329-80EB5A93F26A}" srcOrd="1" destOrd="0" presId="urn:microsoft.com/office/officeart/2005/8/layout/hierarchy1"/>
    <dgm:cxn modelId="{3C2780AB-186D-6B41-B718-39F351A6D4E4}" type="presParOf" srcId="{44894C27-37A3-F349-AC2D-056A5F139025}" destId="{92706B4E-6642-8348-9210-602EB1450A4B}" srcOrd="1" destOrd="0" presId="urn:microsoft.com/office/officeart/2005/8/layout/hierarchy1"/>
    <dgm:cxn modelId="{B06363AA-5869-0E43-BE6A-146D8D35A98B}" type="presParOf" srcId="{92706B4E-6642-8348-9210-602EB1450A4B}" destId="{5702A89A-DC52-9C46-9B02-580E3D9B64DA}" srcOrd="0" destOrd="0" presId="urn:microsoft.com/office/officeart/2005/8/layout/hierarchy1"/>
    <dgm:cxn modelId="{DAEAD912-6964-2E47-B3FC-893A31F8CBC0}" type="presParOf" srcId="{92706B4E-6642-8348-9210-602EB1450A4B}" destId="{CA5B40DC-2A9A-AE40-853B-BEB37CB3024E}" srcOrd="1" destOrd="0" presId="urn:microsoft.com/office/officeart/2005/8/layout/hierarchy1"/>
    <dgm:cxn modelId="{4601E34E-1571-AD44-AFF7-59DF839F2C42}" type="presParOf" srcId="{CA5B40DC-2A9A-AE40-853B-BEB37CB3024E}" destId="{498826F6-9AAA-F449-89C9-735D1CFC1A63}" srcOrd="0" destOrd="0" presId="urn:microsoft.com/office/officeart/2005/8/layout/hierarchy1"/>
    <dgm:cxn modelId="{000DB02D-8F7B-AF48-B372-3F32D7572178}" type="presParOf" srcId="{498826F6-9AAA-F449-89C9-735D1CFC1A63}" destId="{477DB18B-C230-374D-BF65-5E997DB797BB}" srcOrd="0" destOrd="0" presId="urn:microsoft.com/office/officeart/2005/8/layout/hierarchy1"/>
    <dgm:cxn modelId="{A80241AE-79F4-9C40-905F-E669C189202C}" type="presParOf" srcId="{498826F6-9AAA-F449-89C9-735D1CFC1A63}" destId="{0A51E13A-D55B-2E4C-A58B-2676DECBA1CF}" srcOrd="1" destOrd="0" presId="urn:microsoft.com/office/officeart/2005/8/layout/hierarchy1"/>
    <dgm:cxn modelId="{9A49D777-9598-8F4C-B7C5-C5CBD7D0DCEC}" type="presParOf" srcId="{CA5B40DC-2A9A-AE40-853B-BEB37CB3024E}" destId="{25A513DB-6023-034E-8BE4-A18B3300C1C7}" srcOrd="1" destOrd="0" presId="urn:microsoft.com/office/officeart/2005/8/layout/hierarchy1"/>
    <dgm:cxn modelId="{7356FE1A-DD59-604B-957D-4237C424971D}" type="presParOf" srcId="{25A513DB-6023-034E-8BE4-A18B3300C1C7}" destId="{9A158C36-03F1-F743-A3B1-0CFE5ED9484B}" srcOrd="0" destOrd="0" presId="urn:microsoft.com/office/officeart/2005/8/layout/hierarchy1"/>
    <dgm:cxn modelId="{4CBA964C-E4EA-8040-857F-514317CE5EF3}" type="presParOf" srcId="{25A513DB-6023-034E-8BE4-A18B3300C1C7}" destId="{71CD6ECF-029B-CC4E-9E54-D3951CE7116A}" srcOrd="1" destOrd="0" presId="urn:microsoft.com/office/officeart/2005/8/layout/hierarchy1"/>
    <dgm:cxn modelId="{FC0ED55D-B6D2-C043-95E6-5E323CD850E9}" type="presParOf" srcId="{71CD6ECF-029B-CC4E-9E54-D3951CE7116A}" destId="{4D7573E8-9C9A-4A48-8B3D-087E1230BF4E}" srcOrd="0" destOrd="0" presId="urn:microsoft.com/office/officeart/2005/8/layout/hierarchy1"/>
    <dgm:cxn modelId="{2C54FBC9-2969-8846-AD11-1ACAABB929D9}" type="presParOf" srcId="{4D7573E8-9C9A-4A48-8B3D-087E1230BF4E}" destId="{463832CD-301B-1545-ADDA-B334A33617D7}" srcOrd="0" destOrd="0" presId="urn:microsoft.com/office/officeart/2005/8/layout/hierarchy1"/>
    <dgm:cxn modelId="{A4980B85-0FF1-0747-8B8A-576BA549E304}" type="presParOf" srcId="{4D7573E8-9C9A-4A48-8B3D-087E1230BF4E}" destId="{6A8B35D2-4ECC-9544-8541-E1807F56388F}" srcOrd="1" destOrd="0" presId="urn:microsoft.com/office/officeart/2005/8/layout/hierarchy1"/>
    <dgm:cxn modelId="{3A864D29-0AF7-184C-9D09-04A6BCC5023E}" type="presParOf" srcId="{71CD6ECF-029B-CC4E-9E54-D3951CE7116A}" destId="{43E655DD-D1EE-0240-8CCB-7D2C42C865D8}" srcOrd="1" destOrd="0" presId="urn:microsoft.com/office/officeart/2005/8/layout/hierarchy1"/>
    <dgm:cxn modelId="{27E0C695-BAED-4341-B015-859897B8B6C5}" type="presParOf" srcId="{25A513DB-6023-034E-8BE4-A18B3300C1C7}" destId="{A024F2C1-6A20-1E43-9274-B647A28E8AB8}" srcOrd="2" destOrd="0" presId="urn:microsoft.com/office/officeart/2005/8/layout/hierarchy1"/>
    <dgm:cxn modelId="{AF575ACC-5F18-124A-A016-F8B924DFDC1D}" type="presParOf" srcId="{25A513DB-6023-034E-8BE4-A18B3300C1C7}" destId="{DC2FF0F9-FD50-DC42-AECF-737E2EA38BCB}" srcOrd="3" destOrd="0" presId="urn:microsoft.com/office/officeart/2005/8/layout/hierarchy1"/>
    <dgm:cxn modelId="{E945ABFD-795B-9241-96F7-71C031B83621}" type="presParOf" srcId="{DC2FF0F9-FD50-DC42-AECF-737E2EA38BCB}" destId="{8696A2A4-1D87-6546-9BAA-5F6530E93A0B}" srcOrd="0" destOrd="0" presId="urn:microsoft.com/office/officeart/2005/8/layout/hierarchy1"/>
    <dgm:cxn modelId="{614BCA08-FEBF-FC40-BB15-835FB2E7E98C}" type="presParOf" srcId="{8696A2A4-1D87-6546-9BAA-5F6530E93A0B}" destId="{882799FF-A5B8-8D49-A01A-6968498E58FB}" srcOrd="0" destOrd="0" presId="urn:microsoft.com/office/officeart/2005/8/layout/hierarchy1"/>
    <dgm:cxn modelId="{A74DC6FD-AE5A-534C-9AAF-C6FCD5F66E8E}" type="presParOf" srcId="{8696A2A4-1D87-6546-9BAA-5F6530E93A0B}" destId="{D4AF643F-59EE-1C48-B0EF-E9B2667E61A8}" srcOrd="1" destOrd="0" presId="urn:microsoft.com/office/officeart/2005/8/layout/hierarchy1"/>
    <dgm:cxn modelId="{E0E596AC-DF35-E741-A615-B7DAD3A83AFE}" type="presParOf" srcId="{DC2FF0F9-FD50-DC42-AECF-737E2EA38BCB}" destId="{447AD3CA-2092-1540-8067-69DF0D9897A2}" srcOrd="1" destOrd="0" presId="urn:microsoft.com/office/officeart/2005/8/layout/hierarchy1"/>
    <dgm:cxn modelId="{B239B942-1019-7D4F-866A-4001EDC2F8B2}" type="presParOf" srcId="{92706B4E-6642-8348-9210-602EB1450A4B}" destId="{D70DEA0E-8520-2540-831B-4FA2C2611548}" srcOrd="2" destOrd="0" presId="urn:microsoft.com/office/officeart/2005/8/layout/hierarchy1"/>
    <dgm:cxn modelId="{D91E370E-DCD4-EF4A-B886-DF3182E87538}" type="presParOf" srcId="{92706B4E-6642-8348-9210-602EB1450A4B}" destId="{1B738EE8-676D-C741-AECD-A5B582330D5F}" srcOrd="3" destOrd="0" presId="urn:microsoft.com/office/officeart/2005/8/layout/hierarchy1"/>
    <dgm:cxn modelId="{14E5EA08-6112-C44F-8605-B1A3BCE5F64C}" type="presParOf" srcId="{1B738EE8-676D-C741-AECD-A5B582330D5F}" destId="{60546388-9123-C441-AF7C-ECA37828548B}" srcOrd="0" destOrd="0" presId="urn:microsoft.com/office/officeart/2005/8/layout/hierarchy1"/>
    <dgm:cxn modelId="{E774D3C0-E973-E34E-B64B-AA29345EC44C}" type="presParOf" srcId="{60546388-9123-C441-AF7C-ECA37828548B}" destId="{6D6AA854-C025-F646-A06B-0F257970ABF7}" srcOrd="0" destOrd="0" presId="urn:microsoft.com/office/officeart/2005/8/layout/hierarchy1"/>
    <dgm:cxn modelId="{AFE4856A-0891-1D4C-8D5C-CCEBBA1C5BB5}" type="presParOf" srcId="{60546388-9123-C441-AF7C-ECA37828548B}" destId="{49BEA11A-6C57-C74E-B1F5-F771BED0B5A9}" srcOrd="1" destOrd="0" presId="urn:microsoft.com/office/officeart/2005/8/layout/hierarchy1"/>
    <dgm:cxn modelId="{000AD4FD-467F-DC4B-ADDC-CD9D280A780A}" type="presParOf" srcId="{1B738EE8-676D-C741-AECD-A5B582330D5F}" destId="{49E3D014-B538-5945-B201-466244F67E77}" srcOrd="1" destOrd="0" presId="urn:microsoft.com/office/officeart/2005/8/layout/hierarchy1"/>
    <dgm:cxn modelId="{03FF0722-DA1B-2C43-9B0B-DC5B3B1DBBCD}" type="presParOf" srcId="{49E3D014-B538-5945-B201-466244F67E77}" destId="{DDA32A11-8AB9-1346-9B7E-CF736C682E0A}" srcOrd="0" destOrd="0" presId="urn:microsoft.com/office/officeart/2005/8/layout/hierarchy1"/>
    <dgm:cxn modelId="{C2335E06-A1F7-AA4C-ABD8-EB5F2CC4947E}" type="presParOf" srcId="{49E3D014-B538-5945-B201-466244F67E77}" destId="{E2FF77B9-75A5-B841-84C6-F50C4A16AF33}" srcOrd="1" destOrd="0" presId="urn:microsoft.com/office/officeart/2005/8/layout/hierarchy1"/>
    <dgm:cxn modelId="{3514CFF1-39CD-1F48-920B-3F893347962C}" type="presParOf" srcId="{E2FF77B9-75A5-B841-84C6-F50C4A16AF33}" destId="{1C1F6997-7844-9F4C-94D7-B0B0D8619141}" srcOrd="0" destOrd="0" presId="urn:microsoft.com/office/officeart/2005/8/layout/hierarchy1"/>
    <dgm:cxn modelId="{C6966341-A0C1-8A45-806A-461626777324}" type="presParOf" srcId="{1C1F6997-7844-9F4C-94D7-B0B0D8619141}" destId="{E03D62CA-2400-FF44-874F-E30E4BBA914F}" srcOrd="0" destOrd="0" presId="urn:microsoft.com/office/officeart/2005/8/layout/hierarchy1"/>
    <dgm:cxn modelId="{ADEB43D7-5AD2-054E-A8B2-4ADBBF7A8EBC}" type="presParOf" srcId="{1C1F6997-7844-9F4C-94D7-B0B0D8619141}" destId="{85B70441-8FD5-5948-A0B7-1745854AE3CF}" srcOrd="1" destOrd="0" presId="urn:microsoft.com/office/officeart/2005/8/layout/hierarchy1"/>
    <dgm:cxn modelId="{8FBA5419-217F-8B4D-B345-F11C66B07CEE}" type="presParOf" srcId="{E2FF77B9-75A5-B841-84C6-F50C4A16AF33}" destId="{A394C79A-791B-204C-BF1B-B905D8DB78D6}" srcOrd="1" destOrd="0" presId="urn:microsoft.com/office/officeart/2005/8/layout/hierarchy1"/>
    <dgm:cxn modelId="{B4444EFB-A762-7141-A8D4-DB8E97818E05}" type="presParOf" srcId="{49E3D014-B538-5945-B201-466244F67E77}" destId="{C5DF801C-9F86-F24A-8145-28B7DF4D6CFA}" srcOrd="2" destOrd="0" presId="urn:microsoft.com/office/officeart/2005/8/layout/hierarchy1"/>
    <dgm:cxn modelId="{70AECC7C-4B0D-1843-A439-2E274BF4B75A}" type="presParOf" srcId="{49E3D014-B538-5945-B201-466244F67E77}" destId="{280117B7-6C59-2946-9968-8AE5FBF84E03}" srcOrd="3" destOrd="0" presId="urn:microsoft.com/office/officeart/2005/8/layout/hierarchy1"/>
    <dgm:cxn modelId="{694F4767-7018-8F49-9FBC-2EE62B23C286}" type="presParOf" srcId="{280117B7-6C59-2946-9968-8AE5FBF84E03}" destId="{5312FB75-4E6D-C449-A8A4-72EC11F85C17}" srcOrd="0" destOrd="0" presId="urn:microsoft.com/office/officeart/2005/8/layout/hierarchy1"/>
    <dgm:cxn modelId="{2E82157E-BE5C-D74D-A927-28051146B639}" type="presParOf" srcId="{5312FB75-4E6D-C449-A8A4-72EC11F85C17}" destId="{ADEE0510-E56D-5D4A-9965-448ABDA9D317}" srcOrd="0" destOrd="0" presId="urn:microsoft.com/office/officeart/2005/8/layout/hierarchy1"/>
    <dgm:cxn modelId="{798E4E44-0FB5-2340-9B2A-B974CE9E11E2}" type="presParOf" srcId="{5312FB75-4E6D-C449-A8A4-72EC11F85C17}" destId="{30FEC9FA-96E3-3041-819F-0F526CF441D9}" srcOrd="1" destOrd="0" presId="urn:microsoft.com/office/officeart/2005/8/layout/hierarchy1"/>
    <dgm:cxn modelId="{52A152E7-6BD1-D248-A05A-9A971C7B6643}" type="presParOf" srcId="{280117B7-6C59-2946-9968-8AE5FBF84E03}" destId="{7C17C15E-37F3-A344-AF2A-37562A3E04F6}" srcOrd="1" destOrd="0" presId="urn:microsoft.com/office/officeart/2005/8/layout/hierarchy1"/>
    <dgm:cxn modelId="{4AEED140-7C62-1B41-876D-87464475F818}" type="presParOf" srcId="{92706B4E-6642-8348-9210-602EB1450A4B}" destId="{5D6BDB73-C4B7-C048-B1A6-CE650313D413}" srcOrd="4" destOrd="0" presId="urn:microsoft.com/office/officeart/2005/8/layout/hierarchy1"/>
    <dgm:cxn modelId="{7079E59E-2C88-6246-9C9C-63B550A7A717}" type="presParOf" srcId="{92706B4E-6642-8348-9210-602EB1450A4B}" destId="{3BB67895-2C87-3342-875C-E3343811C21D}" srcOrd="5" destOrd="0" presId="urn:microsoft.com/office/officeart/2005/8/layout/hierarchy1"/>
    <dgm:cxn modelId="{AFD90063-BC0A-2744-8C08-3AA28EB80588}" type="presParOf" srcId="{3BB67895-2C87-3342-875C-E3343811C21D}" destId="{9E669F9E-1845-C14C-A8AA-CC2E46BDD5B9}" srcOrd="0" destOrd="0" presId="urn:microsoft.com/office/officeart/2005/8/layout/hierarchy1"/>
    <dgm:cxn modelId="{75ACF73A-99AC-0E4D-B23F-39D0EDD9A660}" type="presParOf" srcId="{9E669F9E-1845-C14C-A8AA-CC2E46BDD5B9}" destId="{18756427-40E3-7940-A5F7-88FA2207A937}" srcOrd="0" destOrd="0" presId="urn:microsoft.com/office/officeart/2005/8/layout/hierarchy1"/>
    <dgm:cxn modelId="{152DCBB9-00FB-1646-B509-3656218C32B1}" type="presParOf" srcId="{9E669F9E-1845-C14C-A8AA-CC2E46BDD5B9}" destId="{B7489E5F-AADD-7944-A55A-9975D3C2DB1B}" srcOrd="1" destOrd="0" presId="urn:microsoft.com/office/officeart/2005/8/layout/hierarchy1"/>
    <dgm:cxn modelId="{D22086FF-B888-6943-B14D-0EC9C49C0584}" type="presParOf" srcId="{3BB67895-2C87-3342-875C-E3343811C21D}" destId="{7EF85429-3F6C-E547-AD85-1FD5740FA4A9}" srcOrd="1" destOrd="0" presId="urn:microsoft.com/office/officeart/2005/8/layout/hierarchy1"/>
    <dgm:cxn modelId="{BA89D019-F5E1-0643-8A5C-A18407BA84CB}" type="presParOf" srcId="{7EF85429-3F6C-E547-AD85-1FD5740FA4A9}" destId="{18247605-CC18-AB44-963F-617788F1E182}" srcOrd="0" destOrd="0" presId="urn:microsoft.com/office/officeart/2005/8/layout/hierarchy1"/>
    <dgm:cxn modelId="{6BC5B9FA-1036-7B4E-8FC9-DD39415874FC}" type="presParOf" srcId="{7EF85429-3F6C-E547-AD85-1FD5740FA4A9}" destId="{914AD135-92B4-914D-B722-571C2644FB2C}" srcOrd="1" destOrd="0" presId="urn:microsoft.com/office/officeart/2005/8/layout/hierarchy1"/>
    <dgm:cxn modelId="{1C16EB5A-AE7A-FF43-B6F2-AAFB20433647}" type="presParOf" srcId="{914AD135-92B4-914D-B722-571C2644FB2C}" destId="{B45D4525-757A-5E4A-9CB2-86CFB8936215}" srcOrd="0" destOrd="0" presId="urn:microsoft.com/office/officeart/2005/8/layout/hierarchy1"/>
    <dgm:cxn modelId="{7998EE06-27A8-AF4D-9FA8-99811B825430}" type="presParOf" srcId="{B45D4525-757A-5E4A-9CB2-86CFB8936215}" destId="{CB31C5D9-FDD1-8C47-A6F3-FEEAC28FE9FB}" srcOrd="0" destOrd="0" presId="urn:microsoft.com/office/officeart/2005/8/layout/hierarchy1"/>
    <dgm:cxn modelId="{B109E14B-B0D6-A64F-8760-3661106991CD}" type="presParOf" srcId="{B45D4525-757A-5E4A-9CB2-86CFB8936215}" destId="{8B9D9512-6CB7-7744-9A7A-2438D181619D}" srcOrd="1" destOrd="0" presId="urn:microsoft.com/office/officeart/2005/8/layout/hierarchy1"/>
    <dgm:cxn modelId="{FBDF16D5-82C2-E54A-9C48-CC0FE6557721}" type="presParOf" srcId="{914AD135-92B4-914D-B722-571C2644FB2C}" destId="{CA47B654-EADD-C745-BA84-DC5F3E654F6B}" srcOrd="1" destOrd="0" presId="urn:microsoft.com/office/officeart/2005/8/layout/hierarchy1"/>
    <dgm:cxn modelId="{BBC2CB9A-FC94-4C49-840D-80AA72A2F944}" type="presParOf" srcId="{7EF85429-3F6C-E547-AD85-1FD5740FA4A9}" destId="{23E55325-DABE-DA40-8046-8AA19E980D5B}" srcOrd="2" destOrd="0" presId="urn:microsoft.com/office/officeart/2005/8/layout/hierarchy1"/>
    <dgm:cxn modelId="{BC2248FA-8901-9F41-9815-78729321284C}" type="presParOf" srcId="{7EF85429-3F6C-E547-AD85-1FD5740FA4A9}" destId="{8B0F338F-96AA-F04F-AC9E-53B8F7FAD230}" srcOrd="3" destOrd="0" presId="urn:microsoft.com/office/officeart/2005/8/layout/hierarchy1"/>
    <dgm:cxn modelId="{61E88017-71A5-9A4D-ABE6-961AFF362C87}" type="presParOf" srcId="{8B0F338F-96AA-F04F-AC9E-53B8F7FAD230}" destId="{EC06016C-D97D-4943-BD59-B827680D7166}" srcOrd="0" destOrd="0" presId="urn:microsoft.com/office/officeart/2005/8/layout/hierarchy1"/>
    <dgm:cxn modelId="{6858F6B4-CC04-6241-9AF6-E2FFADE519AE}" type="presParOf" srcId="{EC06016C-D97D-4943-BD59-B827680D7166}" destId="{18799725-392F-4B4E-B105-169BC390FEC3}" srcOrd="0" destOrd="0" presId="urn:microsoft.com/office/officeart/2005/8/layout/hierarchy1"/>
    <dgm:cxn modelId="{8F8819CF-CBEB-7B43-AB85-4B470691B8B7}" type="presParOf" srcId="{EC06016C-D97D-4943-BD59-B827680D7166}" destId="{B3E0204E-BE97-5F43-B632-7E515187FE6E}" srcOrd="1" destOrd="0" presId="urn:microsoft.com/office/officeart/2005/8/layout/hierarchy1"/>
    <dgm:cxn modelId="{5CF31157-09D4-4241-B3AD-7206C13669C4}" type="presParOf" srcId="{8B0F338F-96AA-F04F-AC9E-53B8F7FAD230}" destId="{9247B369-C8C3-2643-B767-9BD29289B120}" srcOrd="1" destOrd="0" presId="urn:microsoft.com/office/officeart/2005/8/layout/hierarchy1"/>
    <dgm:cxn modelId="{D2D67ADC-1CA1-D144-80A5-D4064B59E90B}" type="presParOf" srcId="{7EF85429-3F6C-E547-AD85-1FD5740FA4A9}" destId="{3EEDA285-1970-1D46-9EB9-147D865CF3A9}" srcOrd="4" destOrd="0" presId="urn:microsoft.com/office/officeart/2005/8/layout/hierarchy1"/>
    <dgm:cxn modelId="{E85801AD-7E57-224B-A29E-9DAAF8944DF6}" type="presParOf" srcId="{7EF85429-3F6C-E547-AD85-1FD5740FA4A9}" destId="{DDEE66D9-50B1-CC4A-911F-A3AF7324164E}" srcOrd="5" destOrd="0" presId="urn:microsoft.com/office/officeart/2005/8/layout/hierarchy1"/>
    <dgm:cxn modelId="{AD3EC840-35CA-0948-B8CE-D2F4E465527C}" type="presParOf" srcId="{DDEE66D9-50B1-CC4A-911F-A3AF7324164E}" destId="{FAD60FE6-0C0C-A149-A0EE-490F210DD5DF}" srcOrd="0" destOrd="0" presId="urn:microsoft.com/office/officeart/2005/8/layout/hierarchy1"/>
    <dgm:cxn modelId="{156663F3-557B-A343-88FC-136CFE062915}" type="presParOf" srcId="{FAD60FE6-0C0C-A149-A0EE-490F210DD5DF}" destId="{7F50D514-D2C8-584B-8556-878F4FFDE0A2}" srcOrd="0" destOrd="0" presId="urn:microsoft.com/office/officeart/2005/8/layout/hierarchy1"/>
    <dgm:cxn modelId="{B8611500-5E4F-CF43-8F71-68A2DC51FAAA}" type="presParOf" srcId="{FAD60FE6-0C0C-A149-A0EE-490F210DD5DF}" destId="{927995AE-BB49-6D4E-BF33-831FD62FB14B}" srcOrd="1" destOrd="0" presId="urn:microsoft.com/office/officeart/2005/8/layout/hierarchy1"/>
    <dgm:cxn modelId="{9E6EAAE5-EACE-2C45-86F9-517F0E6C1E19}" type="presParOf" srcId="{DDEE66D9-50B1-CC4A-911F-A3AF7324164E}" destId="{810A7773-BF1F-E040-89CF-F3C5E77AECBC}" srcOrd="1" destOrd="0" presId="urn:microsoft.com/office/officeart/2005/8/layout/hierarchy1"/>
    <dgm:cxn modelId="{20D456DE-D11F-FA48-BEC0-D9A3F6EE2599}" type="presParOf" srcId="{1FDB5EB6-2165-EE42-8379-0CAB53CAA213}" destId="{399AEB7C-4485-4241-98AE-0FF1F3000DCA}" srcOrd="2" destOrd="0" presId="urn:microsoft.com/office/officeart/2005/8/layout/hierarchy1"/>
    <dgm:cxn modelId="{BF76527E-D554-8045-9C3B-387D5D67954D}" type="presParOf" srcId="{1FDB5EB6-2165-EE42-8379-0CAB53CAA213}" destId="{967E2F6C-2B59-9647-BAFE-4E1F9BCB6CC2}" srcOrd="3" destOrd="0" presId="urn:microsoft.com/office/officeart/2005/8/layout/hierarchy1"/>
    <dgm:cxn modelId="{A675DEC7-30C9-FF41-9063-8209715186A5}" type="presParOf" srcId="{967E2F6C-2B59-9647-BAFE-4E1F9BCB6CC2}" destId="{9434ED25-A2B1-DA4F-A41B-7C925F2C1D22}" srcOrd="0" destOrd="0" presId="urn:microsoft.com/office/officeart/2005/8/layout/hierarchy1"/>
    <dgm:cxn modelId="{5FBDB6FD-0918-0F4E-AB3D-20E800917FE2}" type="presParOf" srcId="{9434ED25-A2B1-DA4F-A41B-7C925F2C1D22}" destId="{FAC892EB-B784-E043-ADF3-5B434AE6D49B}" srcOrd="0" destOrd="0" presId="urn:microsoft.com/office/officeart/2005/8/layout/hierarchy1"/>
    <dgm:cxn modelId="{B0EBDC3A-D270-714F-A3AA-D9D7456556A0}" type="presParOf" srcId="{9434ED25-A2B1-DA4F-A41B-7C925F2C1D22}" destId="{41E2835E-98C5-EF49-9E5C-AD086C3D2F45}" srcOrd="1" destOrd="0" presId="urn:microsoft.com/office/officeart/2005/8/layout/hierarchy1"/>
    <dgm:cxn modelId="{096FB364-8F7D-D149-A87F-64501CBA9900}" type="presParOf" srcId="{967E2F6C-2B59-9647-BAFE-4E1F9BCB6CC2}" destId="{61ED6DAF-2DD1-A64A-BB30-9E2632D88539}" srcOrd="1" destOrd="0" presId="urn:microsoft.com/office/officeart/2005/8/layout/hierarchy1"/>
    <dgm:cxn modelId="{75A6D0E1-B96C-144C-90BC-D6F0825343A4}" type="presParOf" srcId="{61ED6DAF-2DD1-A64A-BB30-9E2632D88539}" destId="{D2925F18-8606-2E43-AE8E-58431B2489E3}" srcOrd="0" destOrd="0" presId="urn:microsoft.com/office/officeart/2005/8/layout/hierarchy1"/>
    <dgm:cxn modelId="{FFE40354-12F6-D043-BF8C-9D8A04698D6C}" type="presParOf" srcId="{61ED6DAF-2DD1-A64A-BB30-9E2632D88539}" destId="{620CCCDA-49DF-A649-8BA7-072ECE82BB08}" srcOrd="1" destOrd="0" presId="urn:microsoft.com/office/officeart/2005/8/layout/hierarchy1"/>
    <dgm:cxn modelId="{DCBAA6B5-F7DF-FE45-BEA6-A2AF040DDA5E}" type="presParOf" srcId="{620CCCDA-49DF-A649-8BA7-072ECE82BB08}" destId="{794F4A9F-6741-B144-AAAB-3EE59869E58D}" srcOrd="0" destOrd="0" presId="urn:microsoft.com/office/officeart/2005/8/layout/hierarchy1"/>
    <dgm:cxn modelId="{63F27F64-4736-924E-BDE0-DA1611FC14A8}" type="presParOf" srcId="{794F4A9F-6741-B144-AAAB-3EE59869E58D}" destId="{AC2D1B5A-08D2-1F49-AB84-BAB9757C89B2}" srcOrd="0" destOrd="0" presId="urn:microsoft.com/office/officeart/2005/8/layout/hierarchy1"/>
    <dgm:cxn modelId="{013DEC0A-B63C-B442-8B41-349B264FBD37}" type="presParOf" srcId="{794F4A9F-6741-B144-AAAB-3EE59869E58D}" destId="{907A74ED-E37C-2647-B1D4-789A63789E2A}" srcOrd="1" destOrd="0" presId="urn:microsoft.com/office/officeart/2005/8/layout/hierarchy1"/>
    <dgm:cxn modelId="{8DBE470B-4532-2044-884B-A608E53920D6}" type="presParOf" srcId="{620CCCDA-49DF-A649-8BA7-072ECE82BB08}" destId="{84E0679A-6460-454D-A842-79D3F57CB9EA}" srcOrd="1" destOrd="0" presId="urn:microsoft.com/office/officeart/2005/8/layout/hierarchy1"/>
    <dgm:cxn modelId="{39ED9CC8-24C6-ED4C-B3B8-9529BE85E6F3}" type="presParOf" srcId="{84E0679A-6460-454D-A842-79D3F57CB9EA}" destId="{F57C5B74-6E5F-C246-B9A4-E736AFA6913B}" srcOrd="0" destOrd="0" presId="urn:microsoft.com/office/officeart/2005/8/layout/hierarchy1"/>
    <dgm:cxn modelId="{2EB0A337-463F-ED4C-8620-3FB7A7192761}" type="presParOf" srcId="{84E0679A-6460-454D-A842-79D3F57CB9EA}" destId="{C24356BC-F26F-024D-8B2B-6DB0F72F10EB}" srcOrd="1" destOrd="0" presId="urn:microsoft.com/office/officeart/2005/8/layout/hierarchy1"/>
    <dgm:cxn modelId="{B66B5355-4870-7E48-A950-E2B40A6BE4B9}" type="presParOf" srcId="{C24356BC-F26F-024D-8B2B-6DB0F72F10EB}" destId="{B506CB77-DEB2-504A-A588-37C775A87421}" srcOrd="0" destOrd="0" presId="urn:microsoft.com/office/officeart/2005/8/layout/hierarchy1"/>
    <dgm:cxn modelId="{490DDE8F-12CE-B342-BD31-0C2C87222790}" type="presParOf" srcId="{B506CB77-DEB2-504A-A588-37C775A87421}" destId="{E710F1B8-0DAD-B145-AE0E-F8EAFDFACD9C}" srcOrd="0" destOrd="0" presId="urn:microsoft.com/office/officeart/2005/8/layout/hierarchy1"/>
    <dgm:cxn modelId="{489F52F3-B2E5-E744-BDD3-1D76B520BBE3}" type="presParOf" srcId="{B506CB77-DEB2-504A-A588-37C775A87421}" destId="{10B26BF5-9C37-A04F-A7E2-02309B7D2282}" srcOrd="1" destOrd="0" presId="urn:microsoft.com/office/officeart/2005/8/layout/hierarchy1"/>
    <dgm:cxn modelId="{F27EAA98-D46F-454D-A587-E6BFF93C4D30}" type="presParOf" srcId="{C24356BC-F26F-024D-8B2B-6DB0F72F10EB}" destId="{045D7863-19B6-AD4A-B2B7-E2E176F2C336}" srcOrd="1" destOrd="0" presId="urn:microsoft.com/office/officeart/2005/8/layout/hierarchy1"/>
    <dgm:cxn modelId="{D5CEBF26-2C66-A845-B329-2A61CFDAC829}" type="presParOf" srcId="{84E0679A-6460-454D-A842-79D3F57CB9EA}" destId="{E67CCEAE-7D80-4B4D-8D08-6B0EEF385A76}" srcOrd="2" destOrd="0" presId="urn:microsoft.com/office/officeart/2005/8/layout/hierarchy1"/>
    <dgm:cxn modelId="{F620F5C5-5B68-654B-93AE-B08C37597733}" type="presParOf" srcId="{84E0679A-6460-454D-A842-79D3F57CB9EA}" destId="{34C5780E-0A57-EB42-94B2-AB97CC68CE8B}" srcOrd="3" destOrd="0" presId="urn:microsoft.com/office/officeart/2005/8/layout/hierarchy1"/>
    <dgm:cxn modelId="{2588E475-A2F7-E348-82A9-E8E2A9C6F2B7}" type="presParOf" srcId="{34C5780E-0A57-EB42-94B2-AB97CC68CE8B}" destId="{5512A72F-9DEB-474D-A6EF-C9E6D46C35D6}" srcOrd="0" destOrd="0" presId="urn:microsoft.com/office/officeart/2005/8/layout/hierarchy1"/>
    <dgm:cxn modelId="{5EADFFD3-6184-FE4D-AE7D-16DE8D62F8B9}" type="presParOf" srcId="{5512A72F-9DEB-474D-A6EF-C9E6D46C35D6}" destId="{27A810AD-7B0B-804D-8F7C-AC386B4CCF91}" srcOrd="0" destOrd="0" presId="urn:microsoft.com/office/officeart/2005/8/layout/hierarchy1"/>
    <dgm:cxn modelId="{21998068-5780-1241-BCE1-F4B76516A4F3}" type="presParOf" srcId="{5512A72F-9DEB-474D-A6EF-C9E6D46C35D6}" destId="{DE73280C-29C7-AD47-B427-257D318489E7}" srcOrd="1" destOrd="0" presId="urn:microsoft.com/office/officeart/2005/8/layout/hierarchy1"/>
    <dgm:cxn modelId="{2815DAFE-3623-9C46-805F-E7ACA4514B38}" type="presParOf" srcId="{34C5780E-0A57-EB42-94B2-AB97CC68CE8B}" destId="{B2B409C4-E550-554C-8428-9F5ADEE09DBC}" srcOrd="1" destOrd="0" presId="urn:microsoft.com/office/officeart/2005/8/layout/hierarchy1"/>
    <dgm:cxn modelId="{2D8E0E8F-EA87-9B45-931D-E964A7FF418E}" type="presParOf" srcId="{B2B409C4-E550-554C-8428-9F5ADEE09DBC}" destId="{1FB9651F-8479-E741-ADCC-3C1B81C68F05}" srcOrd="0" destOrd="0" presId="urn:microsoft.com/office/officeart/2005/8/layout/hierarchy1"/>
    <dgm:cxn modelId="{0AAC51B2-464C-E149-8C6C-111D61DC12EB}" type="presParOf" srcId="{B2B409C4-E550-554C-8428-9F5ADEE09DBC}" destId="{7E47D623-346A-224B-8ACF-2F1A45522FBE}" srcOrd="1" destOrd="0" presId="urn:microsoft.com/office/officeart/2005/8/layout/hierarchy1"/>
    <dgm:cxn modelId="{87D20CB6-DBB9-6448-B0E7-F0A4DCA9DBC5}" type="presParOf" srcId="{7E47D623-346A-224B-8ACF-2F1A45522FBE}" destId="{AC0AC172-4BAF-E147-9FF8-F76496AE6C26}" srcOrd="0" destOrd="0" presId="urn:microsoft.com/office/officeart/2005/8/layout/hierarchy1"/>
    <dgm:cxn modelId="{1EDCE155-41BE-F447-B7B3-F41E80502251}" type="presParOf" srcId="{AC0AC172-4BAF-E147-9FF8-F76496AE6C26}" destId="{C4A9811C-C4BA-ED45-9ECF-C4D110FB874F}" srcOrd="0" destOrd="0" presId="urn:microsoft.com/office/officeart/2005/8/layout/hierarchy1"/>
    <dgm:cxn modelId="{D9DAB9CE-014D-5744-83CA-07B9FD42E0E5}" type="presParOf" srcId="{AC0AC172-4BAF-E147-9FF8-F76496AE6C26}" destId="{FAA5CA3F-759B-824D-92BA-3CA616B87B8A}" srcOrd="1" destOrd="0" presId="urn:microsoft.com/office/officeart/2005/8/layout/hierarchy1"/>
    <dgm:cxn modelId="{802DEBA4-5838-DB4D-B73F-2B8D39E9B9AB}" type="presParOf" srcId="{7E47D623-346A-224B-8ACF-2F1A45522FBE}" destId="{B6504474-88E6-AE41-A18B-F43D4B3EB51E}" srcOrd="1" destOrd="0" presId="urn:microsoft.com/office/officeart/2005/8/layout/hierarchy1"/>
    <dgm:cxn modelId="{E2346EA7-BF33-CE4E-B944-68BFC91BB019}" type="presParOf" srcId="{B2B409C4-E550-554C-8428-9F5ADEE09DBC}" destId="{C31D8C99-DBEE-0C43-A53A-EA88B35F45CE}" srcOrd="2" destOrd="0" presId="urn:microsoft.com/office/officeart/2005/8/layout/hierarchy1"/>
    <dgm:cxn modelId="{566C6C7A-26AF-714A-A91E-CF1A20442EBE}" type="presParOf" srcId="{B2B409C4-E550-554C-8428-9F5ADEE09DBC}" destId="{E68E7A2D-4134-D344-9C43-C948B74E196F}" srcOrd="3" destOrd="0" presId="urn:microsoft.com/office/officeart/2005/8/layout/hierarchy1"/>
    <dgm:cxn modelId="{465BF3B6-B028-1A49-8CCC-443EF1D4E980}" type="presParOf" srcId="{E68E7A2D-4134-D344-9C43-C948B74E196F}" destId="{99299658-3047-8949-BB86-949E543076DE}" srcOrd="0" destOrd="0" presId="urn:microsoft.com/office/officeart/2005/8/layout/hierarchy1"/>
    <dgm:cxn modelId="{EC55B478-934D-2F4B-A0C2-5F05EE40A2DF}" type="presParOf" srcId="{99299658-3047-8949-BB86-949E543076DE}" destId="{92107394-230A-3148-BCEB-882C2154AE77}" srcOrd="0" destOrd="0" presId="urn:microsoft.com/office/officeart/2005/8/layout/hierarchy1"/>
    <dgm:cxn modelId="{3F170631-8601-1E4F-A6F7-9BFB742FA61F}" type="presParOf" srcId="{99299658-3047-8949-BB86-949E543076DE}" destId="{55611601-3A33-9D44-8EAC-30296F6AAB7A}" srcOrd="1" destOrd="0" presId="urn:microsoft.com/office/officeart/2005/8/layout/hierarchy1"/>
    <dgm:cxn modelId="{17B9A84D-F3A2-0841-B2DE-297037BADAF3}" type="presParOf" srcId="{E68E7A2D-4134-D344-9C43-C948B74E196F}" destId="{5D862C62-72DF-9541-95E2-0C2DDE8D5150}" srcOrd="1" destOrd="0" presId="urn:microsoft.com/office/officeart/2005/8/layout/hierarchy1"/>
    <dgm:cxn modelId="{D4376871-7C3E-9947-B697-1C3C4156750B}" type="presParOf" srcId="{61ED6DAF-2DD1-A64A-BB30-9E2632D88539}" destId="{02268241-BBC4-6544-96CA-2B2336FFC79F}" srcOrd="2" destOrd="0" presId="urn:microsoft.com/office/officeart/2005/8/layout/hierarchy1"/>
    <dgm:cxn modelId="{7EF01FC1-349F-624B-B42D-D3AB8A744AA1}" type="presParOf" srcId="{61ED6DAF-2DD1-A64A-BB30-9E2632D88539}" destId="{78880732-9D95-5440-9985-B28C1BA85F3D}" srcOrd="3" destOrd="0" presId="urn:microsoft.com/office/officeart/2005/8/layout/hierarchy1"/>
    <dgm:cxn modelId="{813D4430-74BA-AD45-A983-A8D0CE9375E5}" type="presParOf" srcId="{78880732-9D95-5440-9985-B28C1BA85F3D}" destId="{610FB304-81A4-F34F-BF32-59D0A7A77C98}" srcOrd="0" destOrd="0" presId="urn:microsoft.com/office/officeart/2005/8/layout/hierarchy1"/>
    <dgm:cxn modelId="{6E5B0466-FB68-9A41-9E6E-FCFD67D273E7}" type="presParOf" srcId="{610FB304-81A4-F34F-BF32-59D0A7A77C98}" destId="{0E85ABCF-8101-0240-88DB-8975FCEC3D72}" srcOrd="0" destOrd="0" presId="urn:microsoft.com/office/officeart/2005/8/layout/hierarchy1"/>
    <dgm:cxn modelId="{14CB5CE7-B82A-7F40-8CA8-4429B58BE502}" type="presParOf" srcId="{610FB304-81A4-F34F-BF32-59D0A7A77C98}" destId="{D90E83F9-39F7-9045-8AEE-DBC35B1F9686}" srcOrd="1" destOrd="0" presId="urn:microsoft.com/office/officeart/2005/8/layout/hierarchy1"/>
    <dgm:cxn modelId="{A1990D2B-272C-A947-9839-950C2B0170C0}" type="presParOf" srcId="{78880732-9D95-5440-9985-B28C1BA85F3D}" destId="{509BBB6C-0423-7B4A-BEB5-23B1370A27CE}" srcOrd="1" destOrd="0" presId="urn:microsoft.com/office/officeart/2005/8/layout/hierarchy1"/>
    <dgm:cxn modelId="{F3FCD7BE-DA35-0745-BD49-A704E747F0F1}" type="presParOf" srcId="{509BBB6C-0423-7B4A-BEB5-23B1370A27CE}" destId="{A169A7AD-DFFE-0C40-8583-D477D49DA34F}" srcOrd="0" destOrd="0" presId="urn:microsoft.com/office/officeart/2005/8/layout/hierarchy1"/>
    <dgm:cxn modelId="{93041DC2-B20B-EC49-B496-8A22C788DF36}" type="presParOf" srcId="{509BBB6C-0423-7B4A-BEB5-23B1370A27CE}" destId="{D7C4F3F7-F73F-6747-9E56-35803FB8A083}" srcOrd="1" destOrd="0" presId="urn:microsoft.com/office/officeart/2005/8/layout/hierarchy1"/>
    <dgm:cxn modelId="{258F84C7-1C04-CA4F-813B-C044DF09CCF2}" type="presParOf" srcId="{D7C4F3F7-F73F-6747-9E56-35803FB8A083}" destId="{D9DC2704-8ABA-6143-8B8F-B702ABEAE44A}" srcOrd="0" destOrd="0" presId="urn:microsoft.com/office/officeart/2005/8/layout/hierarchy1"/>
    <dgm:cxn modelId="{B3F5AD2B-6320-A042-A270-EE771FDED8D0}" type="presParOf" srcId="{D9DC2704-8ABA-6143-8B8F-B702ABEAE44A}" destId="{BCEBA39F-63DF-0E4B-8AC7-ACCF22FA860F}" srcOrd="0" destOrd="0" presId="urn:microsoft.com/office/officeart/2005/8/layout/hierarchy1"/>
    <dgm:cxn modelId="{D8D5DBB2-19C2-BA42-9B03-A64C856193BC}" type="presParOf" srcId="{D9DC2704-8ABA-6143-8B8F-B702ABEAE44A}" destId="{F5577EBD-106E-1140-8136-A003E3567A38}" srcOrd="1" destOrd="0" presId="urn:microsoft.com/office/officeart/2005/8/layout/hierarchy1"/>
    <dgm:cxn modelId="{9B34DD7B-A3D6-FE4B-A189-D0B85A4AEE1B}" type="presParOf" srcId="{D7C4F3F7-F73F-6747-9E56-35803FB8A083}" destId="{EC194AF1-1538-9C41-BE5A-518ECA7D7BC9}" srcOrd="1" destOrd="0" presId="urn:microsoft.com/office/officeart/2005/8/layout/hierarchy1"/>
    <dgm:cxn modelId="{D4765C34-7625-D54C-B0D1-3DCCFF5A1C39}" type="presParOf" srcId="{509BBB6C-0423-7B4A-BEB5-23B1370A27CE}" destId="{7B8BCF83-1A5D-2442-A38D-B0EA693508AF}" srcOrd="2" destOrd="0" presId="urn:microsoft.com/office/officeart/2005/8/layout/hierarchy1"/>
    <dgm:cxn modelId="{36BDC415-4192-A64C-9EA8-61B284F7EBCA}" type="presParOf" srcId="{509BBB6C-0423-7B4A-BEB5-23B1370A27CE}" destId="{C3150B57-4ECE-FA4F-A8DB-25CA049279BF}" srcOrd="3" destOrd="0" presId="urn:microsoft.com/office/officeart/2005/8/layout/hierarchy1"/>
    <dgm:cxn modelId="{9DD34F5C-77FD-D64D-A010-6DD46A3BF9F7}" type="presParOf" srcId="{C3150B57-4ECE-FA4F-A8DB-25CA049279BF}" destId="{0200EDAC-E361-5B47-872E-2E79B862B36B}" srcOrd="0" destOrd="0" presId="urn:microsoft.com/office/officeart/2005/8/layout/hierarchy1"/>
    <dgm:cxn modelId="{70868496-0D42-F640-85A6-0EE473DACA4B}" type="presParOf" srcId="{0200EDAC-E361-5B47-872E-2E79B862B36B}" destId="{F7CD8B13-4EA0-DB4E-878F-19531B269BF8}" srcOrd="0" destOrd="0" presId="urn:microsoft.com/office/officeart/2005/8/layout/hierarchy1"/>
    <dgm:cxn modelId="{F5ABD9E1-E593-9948-97B4-A36986AFDD8C}" type="presParOf" srcId="{0200EDAC-E361-5B47-872E-2E79B862B36B}" destId="{FA324DE0-8B3D-E746-BC7B-AE178953D5C9}" srcOrd="1" destOrd="0" presId="urn:microsoft.com/office/officeart/2005/8/layout/hierarchy1"/>
    <dgm:cxn modelId="{10B175C5-A301-EF45-8C08-3DF09EFA0F48}" type="presParOf" srcId="{C3150B57-4ECE-FA4F-A8DB-25CA049279BF}" destId="{80DBF10E-4B01-B444-8D75-3C0F9CF70B61}" srcOrd="1" destOrd="0" presId="urn:microsoft.com/office/officeart/2005/8/layout/hierarchy1"/>
    <dgm:cxn modelId="{3A4E275E-2AC8-A44E-9AFF-3B47D3D28FC6}" type="presParOf" srcId="{61ED6DAF-2DD1-A64A-BB30-9E2632D88539}" destId="{CF3FA2DF-01BD-AF47-8540-879C486906C7}" srcOrd="4" destOrd="0" presId="urn:microsoft.com/office/officeart/2005/8/layout/hierarchy1"/>
    <dgm:cxn modelId="{AA758A19-2BF9-5F45-BF01-DF49C67EF99C}" type="presParOf" srcId="{61ED6DAF-2DD1-A64A-BB30-9E2632D88539}" destId="{FE71DC7E-3C07-C042-A691-1F11152FDFA2}" srcOrd="5" destOrd="0" presId="urn:microsoft.com/office/officeart/2005/8/layout/hierarchy1"/>
    <dgm:cxn modelId="{5BE15753-EBEF-344A-998B-4A49B2D9D5A8}" type="presParOf" srcId="{FE71DC7E-3C07-C042-A691-1F11152FDFA2}" destId="{4F4E800D-617E-8240-99C6-3204A7F194EF}" srcOrd="0" destOrd="0" presId="urn:microsoft.com/office/officeart/2005/8/layout/hierarchy1"/>
    <dgm:cxn modelId="{7E7D7075-F9D1-C848-A24B-6D199170E9C2}" type="presParOf" srcId="{4F4E800D-617E-8240-99C6-3204A7F194EF}" destId="{BFAC07A3-44D0-084C-AB18-7D361A99A93F}" srcOrd="0" destOrd="0" presId="urn:microsoft.com/office/officeart/2005/8/layout/hierarchy1"/>
    <dgm:cxn modelId="{C0FD06FD-475C-414C-8513-AA3238D78905}" type="presParOf" srcId="{4F4E800D-617E-8240-99C6-3204A7F194EF}" destId="{55864D8C-48A1-AC46-BAFA-12839E203F76}" srcOrd="1" destOrd="0" presId="urn:microsoft.com/office/officeart/2005/8/layout/hierarchy1"/>
    <dgm:cxn modelId="{A4DDC7E5-1DCE-2147-8D51-09B38D7654AE}" type="presParOf" srcId="{FE71DC7E-3C07-C042-A691-1F11152FDFA2}" destId="{923A473A-9A12-5A41-8A12-3BB149D0BF7C}" srcOrd="1" destOrd="0" presId="urn:microsoft.com/office/officeart/2005/8/layout/hierarchy1"/>
    <dgm:cxn modelId="{5420A9AD-F865-B141-B4FF-0CAFDD886224}" type="presParOf" srcId="{923A473A-9A12-5A41-8A12-3BB149D0BF7C}" destId="{1640CB7C-65B2-054A-B681-10D75DF15C02}" srcOrd="0" destOrd="0" presId="urn:microsoft.com/office/officeart/2005/8/layout/hierarchy1"/>
    <dgm:cxn modelId="{8915CF02-AEE5-2343-95A3-2900B089FD60}" type="presParOf" srcId="{923A473A-9A12-5A41-8A12-3BB149D0BF7C}" destId="{91C67564-88DF-DC4D-9376-EF39A7CEE2C6}" srcOrd="1" destOrd="0" presId="urn:microsoft.com/office/officeart/2005/8/layout/hierarchy1"/>
    <dgm:cxn modelId="{0BC60C8E-A4B2-0141-913B-269BEBE722B9}" type="presParOf" srcId="{91C67564-88DF-DC4D-9376-EF39A7CEE2C6}" destId="{6099FDB2-521B-CD4A-88C1-DBB17CB714BF}" srcOrd="0" destOrd="0" presId="urn:microsoft.com/office/officeart/2005/8/layout/hierarchy1"/>
    <dgm:cxn modelId="{3E6489EE-D182-8943-B7D2-21E7C9BC6C51}" type="presParOf" srcId="{6099FDB2-521B-CD4A-88C1-DBB17CB714BF}" destId="{FBEE83CC-5828-DA48-8121-631FC4FCC639}" srcOrd="0" destOrd="0" presId="urn:microsoft.com/office/officeart/2005/8/layout/hierarchy1"/>
    <dgm:cxn modelId="{E411CFE1-6C9F-A447-903B-37E0F3F56CC2}" type="presParOf" srcId="{6099FDB2-521B-CD4A-88C1-DBB17CB714BF}" destId="{22276705-AC73-D54D-B3F6-41AE5ED79766}" srcOrd="1" destOrd="0" presId="urn:microsoft.com/office/officeart/2005/8/layout/hierarchy1"/>
    <dgm:cxn modelId="{50BB913D-7811-F54D-BF62-EBA573125071}" type="presParOf" srcId="{91C67564-88DF-DC4D-9376-EF39A7CEE2C6}" destId="{0F9B7DB0-974F-1D43-A0D4-31CA41E306B4}" srcOrd="1" destOrd="0" presId="urn:microsoft.com/office/officeart/2005/8/layout/hierarchy1"/>
    <dgm:cxn modelId="{F0DBC1E3-67A6-6A4D-A26D-087D6EB36D6E}" type="presParOf" srcId="{923A473A-9A12-5A41-8A12-3BB149D0BF7C}" destId="{233695F9-20B7-AD41-9BB1-537A087FEA3C}" srcOrd="2" destOrd="0" presId="urn:microsoft.com/office/officeart/2005/8/layout/hierarchy1"/>
    <dgm:cxn modelId="{5F992824-3568-7A42-BE92-54DC6340BC42}" type="presParOf" srcId="{923A473A-9A12-5A41-8A12-3BB149D0BF7C}" destId="{58112B83-0762-7543-AB3F-9ADB0B91BFD5}" srcOrd="3" destOrd="0" presId="urn:microsoft.com/office/officeart/2005/8/layout/hierarchy1"/>
    <dgm:cxn modelId="{9B0A4CFF-6012-7445-AE26-0A217B022DC2}" type="presParOf" srcId="{58112B83-0762-7543-AB3F-9ADB0B91BFD5}" destId="{3C746C82-5535-3B48-8225-E62AD9777B79}" srcOrd="0" destOrd="0" presId="urn:microsoft.com/office/officeart/2005/8/layout/hierarchy1"/>
    <dgm:cxn modelId="{751890D7-ABD8-BA4E-95F8-A8B35481D537}" type="presParOf" srcId="{3C746C82-5535-3B48-8225-E62AD9777B79}" destId="{A5A61364-026C-7F4C-9380-E28460DA2CED}" srcOrd="0" destOrd="0" presId="urn:microsoft.com/office/officeart/2005/8/layout/hierarchy1"/>
    <dgm:cxn modelId="{0056809A-44AF-E342-A122-C577F865F3A1}" type="presParOf" srcId="{3C746C82-5535-3B48-8225-E62AD9777B79}" destId="{60FFA547-FCB7-C04F-BDDB-0C399FE9B475}" srcOrd="1" destOrd="0" presId="urn:microsoft.com/office/officeart/2005/8/layout/hierarchy1"/>
    <dgm:cxn modelId="{4F2B164A-7F1E-354A-9366-E98FD000E11D}" type="presParOf" srcId="{58112B83-0762-7543-AB3F-9ADB0B91BFD5}" destId="{0C59FE7B-75A9-384F-B428-0C6ABCF78767}" srcOrd="1" destOrd="0" presId="urn:microsoft.com/office/officeart/2005/8/layout/hierarchy1"/>
    <dgm:cxn modelId="{4A6F7295-6A61-5645-9FFE-52B488F77671}" type="presParOf" srcId="{923A473A-9A12-5A41-8A12-3BB149D0BF7C}" destId="{37D52545-C531-A24E-AD5E-0932D0F664A1}" srcOrd="4" destOrd="0" presId="urn:microsoft.com/office/officeart/2005/8/layout/hierarchy1"/>
    <dgm:cxn modelId="{7E3433BA-DB20-E845-89A3-3275E805B34A}" type="presParOf" srcId="{923A473A-9A12-5A41-8A12-3BB149D0BF7C}" destId="{6EC17539-A5C5-144F-8520-C15958419F70}" srcOrd="5" destOrd="0" presId="urn:microsoft.com/office/officeart/2005/8/layout/hierarchy1"/>
    <dgm:cxn modelId="{DC394838-4046-2749-8D95-E3CDF8D04202}" type="presParOf" srcId="{6EC17539-A5C5-144F-8520-C15958419F70}" destId="{7DFDB140-FFBB-E840-81BC-5400E79E3832}" srcOrd="0" destOrd="0" presId="urn:microsoft.com/office/officeart/2005/8/layout/hierarchy1"/>
    <dgm:cxn modelId="{DBDADCA4-9929-B642-A9B6-ABF65D4BE5CA}" type="presParOf" srcId="{7DFDB140-FFBB-E840-81BC-5400E79E3832}" destId="{9150D0B0-9B69-FA48-ABED-C900B5E97B43}" srcOrd="0" destOrd="0" presId="urn:microsoft.com/office/officeart/2005/8/layout/hierarchy1"/>
    <dgm:cxn modelId="{FB7CE473-9998-3248-8442-3365A34CDF9F}" type="presParOf" srcId="{7DFDB140-FFBB-E840-81BC-5400E79E3832}" destId="{D968E578-B316-7743-A82A-040A191D3085}" srcOrd="1" destOrd="0" presId="urn:microsoft.com/office/officeart/2005/8/layout/hierarchy1"/>
    <dgm:cxn modelId="{8302F31C-2D60-EA45-9AD5-F1308BEE10EA}" type="presParOf" srcId="{6EC17539-A5C5-144F-8520-C15958419F70}" destId="{0732D1EC-FB54-9946-9EC1-4AEE2F2CEDC9}" srcOrd="1" destOrd="0" presId="urn:microsoft.com/office/officeart/2005/8/layout/hierarchy1"/>
  </dgm:cxnLst>
  <dgm:bg>
    <a:noFill/>
  </dgm:bg>
  <dgm:whole>
    <a:ln w="57150" cmpd="sn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AF3357FD-18B0-1644-966C-BCE3778B58DD}" type="doc">
      <dgm:prSet loTypeId="urn:microsoft.com/office/officeart/2005/8/layout/orgChart1" loCatId="" qsTypeId="urn:microsoft.com/office/officeart/2005/8/quickstyle/simple2" qsCatId="simple" csTypeId="urn:microsoft.com/office/officeart/2005/8/colors/accent1_2" csCatId="accent1" phldr="1"/>
      <dgm:spPr/>
      <dgm:t>
        <a:bodyPr/>
        <a:lstStyle/>
        <a:p>
          <a:endParaRPr lang="en-US"/>
        </a:p>
      </dgm:t>
    </dgm:pt>
    <dgm:pt modelId="{25517EF2-3665-EB4B-9D7F-2C037C685C4E}">
      <dgm:prSet phldrT="[Text]"/>
      <dgm:spPr>
        <a:solidFill>
          <a:schemeClr val="accent1">
            <a:lumMod val="5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Add to Cart</a:t>
          </a:r>
          <a:endParaRPr lang="en-US" b="1" dirty="0"/>
        </a:p>
      </dgm:t>
    </dgm:pt>
    <dgm:pt modelId="{D1D1E974-9AD9-1A42-A6F6-F902A49BDCFF}" type="parTrans" cxnId="{B00A64FC-E62B-0B48-B010-0717DFBC827A}">
      <dgm:prSet/>
      <dgm:spPr/>
      <dgm:t>
        <a:bodyPr/>
        <a:lstStyle/>
        <a:p>
          <a:endParaRPr lang="en-US"/>
        </a:p>
      </dgm:t>
    </dgm:pt>
    <dgm:pt modelId="{56D907EF-C84C-3B48-8C95-0AE5C1659474}" type="sibTrans" cxnId="{B00A64FC-E62B-0B48-B010-0717DFBC827A}">
      <dgm:prSet/>
      <dgm:spPr/>
      <dgm:t>
        <a:bodyPr/>
        <a:lstStyle/>
        <a:p>
          <a:endParaRPr lang="en-US"/>
        </a:p>
      </dgm:t>
    </dgm:pt>
    <dgm:pt modelId="{4B26847B-222F-E04F-B93F-7958496DA65C}">
      <dgm:prSet phldrT="[Text]"/>
      <dgm:spPr>
        <a:ln w="101600" cmpd="dbl">
          <a:solidFill>
            <a:schemeClr val="bg1"/>
          </a:solidFill>
        </a:ln>
      </dgm:spPr>
      <dgm:t>
        <a:bodyPr lIns="91440" tIns="18288" rIns="91440"/>
        <a:lstStyle/>
        <a:p>
          <a:r>
            <a:rPr lang="en-US" b="1" smtClean="0">
              <a:effectLst>
                <a:outerShdw blurRad="50800" dist="38100" dir="2700000" algn="tl" rotWithShape="0">
                  <a:prstClr val="black">
                    <a:alpha val="40000"/>
                  </a:prstClr>
                </a:outerShdw>
              </a:effectLst>
            </a:rPr>
            <a:t>Emphasize the Primary Call to Action</a:t>
          </a:r>
          <a:endParaRPr lang="en-US" b="1" dirty="0">
            <a:effectLst>
              <a:outerShdw blurRad="50800" dist="38100" dir="2700000" algn="tl" rotWithShape="0">
                <a:prstClr val="black">
                  <a:alpha val="40000"/>
                </a:prstClr>
              </a:outerShdw>
            </a:effectLst>
          </a:endParaRPr>
        </a:p>
      </dgm:t>
    </dgm:pt>
    <dgm:pt modelId="{07AFA923-B56F-0042-B585-5B06F0FA0896}" type="parTrans" cxnId="{8F920AE9-1886-AC40-A98C-863F5AB3ABB2}">
      <dgm:prSet/>
      <dgm:spPr/>
      <dgm:t>
        <a:bodyPr/>
        <a:lstStyle/>
        <a:p>
          <a:endParaRPr lang="en-US"/>
        </a:p>
      </dgm:t>
    </dgm:pt>
    <dgm:pt modelId="{EF2C2E1F-9C59-4E44-9BFF-B9B74523D935}" type="sibTrans" cxnId="{8F920AE9-1886-AC40-A98C-863F5AB3ABB2}">
      <dgm:prSet/>
      <dgm:spPr/>
      <dgm:t>
        <a:bodyPr/>
        <a:lstStyle/>
        <a:p>
          <a:endParaRPr lang="en-US"/>
        </a:p>
      </dgm:t>
    </dgm:pt>
    <dgm:pt modelId="{50B35D2E-59F3-7346-A146-7B84569A5183}">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Wording / messaging</a:t>
          </a:r>
          <a:endParaRPr lang="en-US" b="1" dirty="0">
            <a:effectLst>
              <a:outerShdw blurRad="50800" dist="38100" dir="2700000" algn="tl" rotWithShape="0">
                <a:prstClr val="black">
                  <a:alpha val="40000"/>
                </a:prstClr>
              </a:outerShdw>
            </a:effectLst>
          </a:endParaRPr>
        </a:p>
      </dgm:t>
    </dgm:pt>
    <dgm:pt modelId="{33424807-C11D-7C4A-85E7-BB0E19ACD352}" type="parTrans" cxnId="{A3DEF5DD-4DA5-064F-9A64-A11BE283B5FA}">
      <dgm:prSet/>
      <dgm:spPr/>
      <dgm:t>
        <a:bodyPr/>
        <a:lstStyle/>
        <a:p>
          <a:endParaRPr lang="en-US"/>
        </a:p>
      </dgm:t>
    </dgm:pt>
    <dgm:pt modelId="{FD010288-FF0D-2D49-A5AC-435BA24A2550}" type="sibTrans" cxnId="{A3DEF5DD-4DA5-064F-9A64-A11BE283B5FA}">
      <dgm:prSet/>
      <dgm:spPr/>
      <dgm:t>
        <a:bodyPr/>
        <a:lstStyle/>
        <a:p>
          <a:endParaRPr lang="en-US"/>
        </a:p>
      </dgm:t>
    </dgm:pt>
    <dgm:pt modelId="{C6588B98-FB28-334E-BDCA-56820ACB0569}">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Location / size</a:t>
          </a:r>
          <a:endParaRPr lang="en-US" b="1" dirty="0">
            <a:effectLst>
              <a:outerShdw blurRad="50800" dist="38100" dir="2700000" algn="tl" rotWithShape="0">
                <a:prstClr val="black">
                  <a:alpha val="40000"/>
                </a:prstClr>
              </a:outerShdw>
            </a:effectLst>
          </a:endParaRPr>
        </a:p>
      </dgm:t>
    </dgm:pt>
    <dgm:pt modelId="{3B5A4386-A293-8747-A207-2A8D5CABEA7A}" type="parTrans" cxnId="{E04C6730-3FFD-5D4B-985C-9C0A77B05039}">
      <dgm:prSet/>
      <dgm:spPr/>
      <dgm:t>
        <a:bodyPr/>
        <a:lstStyle/>
        <a:p>
          <a:endParaRPr lang="en-US"/>
        </a:p>
      </dgm:t>
    </dgm:pt>
    <dgm:pt modelId="{1DAD777C-69EB-524E-B685-59D1A2C22C8E}" type="sibTrans" cxnId="{E04C6730-3FFD-5D4B-985C-9C0A77B05039}">
      <dgm:prSet/>
      <dgm:spPr/>
      <dgm:t>
        <a:bodyPr/>
        <a:lstStyle/>
        <a:p>
          <a:endParaRPr lang="en-US"/>
        </a:p>
      </dgm:t>
    </dgm:pt>
    <dgm:pt modelId="{C70D9AAD-288E-0B4A-A4D2-9169EEB4C5EF}">
      <dgm:prSet phldrT="[Text]"/>
      <dgm:spPr>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Minimize Distractions</a:t>
          </a:r>
          <a:endParaRPr lang="en-US" b="1" dirty="0">
            <a:effectLst>
              <a:outerShdw blurRad="50800" dist="38100" dir="2700000" algn="tl" rotWithShape="0">
                <a:prstClr val="black">
                  <a:alpha val="40000"/>
                </a:prstClr>
              </a:outerShdw>
            </a:effectLst>
          </a:endParaRPr>
        </a:p>
      </dgm:t>
    </dgm:pt>
    <dgm:pt modelId="{F5F28F68-69DA-C347-938A-3CCF605B29AB}" type="parTrans" cxnId="{219BA358-66B7-0F44-B8A3-21E80178ACCF}">
      <dgm:prSet/>
      <dgm:spPr/>
      <dgm:t>
        <a:bodyPr/>
        <a:lstStyle/>
        <a:p>
          <a:endParaRPr lang="en-US"/>
        </a:p>
      </dgm:t>
    </dgm:pt>
    <dgm:pt modelId="{6A1A54A5-98A7-FF49-9699-4CB4608AB21F}" type="sibTrans" cxnId="{219BA358-66B7-0F44-B8A3-21E80178ACCF}">
      <dgm:prSet/>
      <dgm:spPr/>
      <dgm:t>
        <a:bodyPr/>
        <a:lstStyle/>
        <a:p>
          <a:endParaRPr lang="en-US"/>
        </a:p>
      </dgm:t>
    </dgm:pt>
    <dgm:pt modelId="{BA6FF226-3807-2346-A740-CE3E60981FB3}">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Establish a visual hierarchy</a:t>
          </a:r>
          <a:endParaRPr lang="en-US" b="1" dirty="0">
            <a:effectLst>
              <a:outerShdw blurRad="50800" dist="38100" dir="2700000" algn="tl" rotWithShape="0">
                <a:prstClr val="black">
                  <a:alpha val="40000"/>
                </a:prstClr>
              </a:outerShdw>
            </a:effectLst>
          </a:endParaRPr>
        </a:p>
      </dgm:t>
    </dgm:pt>
    <dgm:pt modelId="{705E07FB-4646-5640-AD39-5663CA022EE0}" type="parTrans" cxnId="{4F00E388-C72F-E24D-B41C-C77F61A7A0A7}">
      <dgm:prSet/>
      <dgm:spPr/>
      <dgm:t>
        <a:bodyPr/>
        <a:lstStyle/>
        <a:p>
          <a:endParaRPr lang="en-US"/>
        </a:p>
      </dgm:t>
    </dgm:pt>
    <dgm:pt modelId="{4F2ECF20-4C49-5249-A0EF-5FAE6D3E84AE}" type="sibTrans" cxnId="{4F00E388-C72F-E24D-B41C-C77F61A7A0A7}">
      <dgm:prSet/>
      <dgm:spPr/>
      <dgm:t>
        <a:bodyPr/>
        <a:lstStyle/>
        <a:p>
          <a:endParaRPr lang="en-US"/>
        </a:p>
      </dgm:t>
    </dgm:pt>
    <dgm:pt modelId="{8C2CA5B6-6500-9D43-9984-AE6727A18F74}">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Remove non-critical content</a:t>
          </a:r>
          <a:endParaRPr lang="en-US" b="1" dirty="0">
            <a:effectLst>
              <a:outerShdw blurRad="50800" dist="38100" dir="2700000" algn="tl" rotWithShape="0">
                <a:prstClr val="black">
                  <a:alpha val="40000"/>
                </a:prstClr>
              </a:outerShdw>
            </a:effectLst>
          </a:endParaRPr>
        </a:p>
      </dgm:t>
    </dgm:pt>
    <dgm:pt modelId="{537E3EB2-8400-9F46-8E14-018A525A6F13}" type="parTrans" cxnId="{2BF524E2-1BD9-DA47-8878-2D47CE1636A8}">
      <dgm:prSet/>
      <dgm:spPr/>
      <dgm:t>
        <a:bodyPr/>
        <a:lstStyle/>
        <a:p>
          <a:endParaRPr lang="en-US"/>
        </a:p>
      </dgm:t>
    </dgm:pt>
    <dgm:pt modelId="{B03FC588-7422-B345-AC2A-404830D942A9}" type="sibTrans" cxnId="{2BF524E2-1BD9-DA47-8878-2D47CE1636A8}">
      <dgm:prSet/>
      <dgm:spPr/>
      <dgm:t>
        <a:bodyPr/>
        <a:lstStyle/>
        <a:p>
          <a:endParaRPr lang="en-US"/>
        </a:p>
      </dgm:t>
    </dgm:pt>
    <dgm:pt modelId="{5B4F3E0D-971E-3647-86E4-6868F203DC2B}">
      <dgm:prSet phldrT="[Text]"/>
      <dgm:spPr>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Communicate Unique Selling Points</a:t>
          </a:r>
          <a:endParaRPr lang="en-US" b="1" dirty="0">
            <a:effectLst>
              <a:outerShdw blurRad="50800" dist="38100" dir="2700000" algn="tl" rotWithShape="0">
                <a:prstClr val="black">
                  <a:alpha val="40000"/>
                </a:prstClr>
              </a:outerShdw>
            </a:effectLst>
          </a:endParaRPr>
        </a:p>
      </dgm:t>
    </dgm:pt>
    <dgm:pt modelId="{F35DDD95-A0E8-D04C-90F4-7D2AE6A0AF8D}" type="parTrans" cxnId="{507A7539-079D-884C-A750-47DC0E0F2B5F}">
      <dgm:prSet/>
      <dgm:spPr/>
      <dgm:t>
        <a:bodyPr/>
        <a:lstStyle/>
        <a:p>
          <a:endParaRPr lang="en-US"/>
        </a:p>
      </dgm:t>
    </dgm:pt>
    <dgm:pt modelId="{F173B29F-EA33-FF4F-8F61-60CD6EE8F154}" type="sibTrans" cxnId="{507A7539-079D-884C-A750-47DC0E0F2B5F}">
      <dgm:prSet/>
      <dgm:spPr/>
      <dgm:t>
        <a:bodyPr/>
        <a:lstStyle/>
        <a:p>
          <a:endParaRPr lang="en-US"/>
        </a:p>
      </dgm:t>
    </dgm:pt>
    <dgm:pt modelId="{1A5ABF02-3DC0-3F46-89A6-D4A83DB904D1}">
      <dgm:prSet phldrT="[Text]"/>
      <dgm:spPr>
        <a:solidFill>
          <a:schemeClr val="accent1">
            <a:lumMod val="60000"/>
            <a:lumOff val="40000"/>
          </a:schemeClr>
        </a:solidFill>
        <a:ln w="101600" cmpd="dbl">
          <a:solidFill>
            <a:schemeClr val="bg1"/>
          </a:solidFill>
        </a:ln>
      </dgm:spPr>
      <dgm:t>
        <a:bodyPr lIns="91440" tIns="18288" rIns="91440"/>
        <a:lstStyle/>
        <a:p>
          <a:r>
            <a:rPr lang="en-US" b="1" smtClean="0">
              <a:effectLst>
                <a:outerShdw blurRad="50800" dist="38100" dir="2700000" algn="tl" rotWithShape="0">
                  <a:prstClr val="black">
                    <a:alpha val="40000"/>
                  </a:prstClr>
                </a:outerShdw>
              </a:effectLst>
            </a:rPr>
            <a:t>Select/target the right USP’s</a:t>
          </a:r>
          <a:endParaRPr lang="en-US" b="1" dirty="0">
            <a:effectLst>
              <a:outerShdw blurRad="50800" dist="38100" dir="2700000" algn="tl" rotWithShape="0">
                <a:prstClr val="black">
                  <a:alpha val="40000"/>
                </a:prstClr>
              </a:outerShdw>
            </a:effectLst>
          </a:endParaRPr>
        </a:p>
      </dgm:t>
    </dgm:pt>
    <dgm:pt modelId="{7FF81494-F22E-3B4A-AE0B-9C51C4A0F12C}" type="parTrans" cxnId="{7D8294E6-07BD-5D4C-9ACF-8116659315FA}">
      <dgm:prSet/>
      <dgm:spPr/>
      <dgm:t>
        <a:bodyPr/>
        <a:lstStyle/>
        <a:p>
          <a:endParaRPr lang="en-US"/>
        </a:p>
      </dgm:t>
    </dgm:pt>
    <dgm:pt modelId="{CD3754BE-0B21-2447-82D0-254D5E91DDB9}" type="sibTrans" cxnId="{7D8294E6-07BD-5D4C-9ACF-8116659315FA}">
      <dgm:prSet/>
      <dgm:spPr/>
      <dgm:t>
        <a:bodyPr/>
        <a:lstStyle/>
        <a:p>
          <a:endParaRPr lang="en-US"/>
        </a:p>
      </dgm:t>
    </dgm:pt>
    <dgm:pt modelId="{11B5AD18-48FD-6A4B-A82C-B8D0882BDFD5}">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Refine the messaging</a:t>
          </a:r>
          <a:endParaRPr lang="en-US" b="1" dirty="0">
            <a:effectLst>
              <a:outerShdw blurRad="50800" dist="38100" dir="2700000" algn="tl" rotWithShape="0">
                <a:prstClr val="black">
                  <a:alpha val="40000"/>
                </a:prstClr>
              </a:outerShdw>
            </a:effectLst>
          </a:endParaRPr>
        </a:p>
      </dgm:t>
    </dgm:pt>
    <dgm:pt modelId="{76C0524B-EDDB-FA4A-A6A1-2FDCA1EEFA25}" type="parTrans" cxnId="{567C4151-E086-6440-93D2-C44BC75B3D12}">
      <dgm:prSet/>
      <dgm:spPr/>
      <dgm:t>
        <a:bodyPr/>
        <a:lstStyle/>
        <a:p>
          <a:endParaRPr lang="en-US"/>
        </a:p>
      </dgm:t>
    </dgm:pt>
    <dgm:pt modelId="{F5E5DF55-1CB3-094F-AB65-827743BF210C}" type="sibTrans" cxnId="{567C4151-E086-6440-93D2-C44BC75B3D12}">
      <dgm:prSet/>
      <dgm:spPr/>
      <dgm:t>
        <a:bodyPr/>
        <a:lstStyle/>
        <a:p>
          <a:endParaRPr lang="en-US"/>
        </a:p>
      </dgm:t>
    </dgm:pt>
    <dgm:pt modelId="{49CB4C51-4B03-F94A-A9CC-2536C8F9270F}">
      <dgm:prSet phldrT="[Text]"/>
      <dgm:spPr>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Design Intuitive Navigation</a:t>
          </a:r>
          <a:endParaRPr lang="en-US" b="1" dirty="0">
            <a:effectLst>
              <a:outerShdw blurRad="50800" dist="38100" dir="2700000" algn="tl" rotWithShape="0">
                <a:prstClr val="black">
                  <a:alpha val="40000"/>
                </a:prstClr>
              </a:outerShdw>
            </a:effectLst>
          </a:endParaRPr>
        </a:p>
      </dgm:t>
    </dgm:pt>
    <dgm:pt modelId="{4BB222BF-BE28-4C47-9A72-39286C322445}" type="parTrans" cxnId="{9A43DC00-7CFB-E944-A61A-772AC3B1A419}">
      <dgm:prSet/>
      <dgm:spPr/>
      <dgm:t>
        <a:bodyPr/>
        <a:lstStyle/>
        <a:p>
          <a:endParaRPr lang="en-US"/>
        </a:p>
      </dgm:t>
    </dgm:pt>
    <dgm:pt modelId="{B9C2BE04-1365-0646-9A8C-152868F5C0E7}" type="sibTrans" cxnId="{9A43DC00-7CFB-E944-A61A-772AC3B1A419}">
      <dgm:prSet/>
      <dgm:spPr/>
      <dgm:t>
        <a:bodyPr/>
        <a:lstStyle/>
        <a:p>
          <a:endParaRPr lang="en-US"/>
        </a:p>
      </dgm:t>
    </dgm:pt>
    <dgm:pt modelId="{14A9B10A-492B-F046-AA45-A18CECB57509}">
      <dgm:prSet phldrT="[Text]"/>
      <dgm:spPr>
        <a:solidFill>
          <a:schemeClr val="accent1">
            <a:lumMod val="60000"/>
            <a:lumOff val="40000"/>
          </a:schemeClr>
        </a:solidFill>
        <a:ln w="101600" cmpd="dbl">
          <a:solidFill>
            <a:schemeClr val="bg1"/>
          </a:solidFill>
        </a:ln>
      </dgm:spPr>
      <dgm:t>
        <a:bodyPr lIns="91440" tIns="18288" rIns="91440"/>
        <a:lstStyle/>
        <a:p>
          <a:r>
            <a:rPr lang="en-US" b="1" smtClean="0">
              <a:effectLst>
                <a:outerShdw blurRad="50800" dist="38100" dir="2700000" algn="tl" rotWithShape="0">
                  <a:prstClr val="black">
                    <a:alpha val="40000"/>
                  </a:prstClr>
                </a:outerShdw>
              </a:effectLst>
            </a:rPr>
            <a:t>Use a clear, consistent layout</a:t>
          </a:r>
          <a:endParaRPr lang="en-US" b="1" dirty="0">
            <a:effectLst>
              <a:outerShdw blurRad="50800" dist="38100" dir="2700000" algn="tl" rotWithShape="0">
                <a:prstClr val="black">
                  <a:alpha val="40000"/>
                </a:prstClr>
              </a:outerShdw>
            </a:effectLst>
          </a:endParaRPr>
        </a:p>
      </dgm:t>
    </dgm:pt>
    <dgm:pt modelId="{964A5E62-97E7-C048-9268-0DD949F4134F}" type="parTrans" cxnId="{A36B01A2-EF46-2B4A-B4B9-5FCB9A2315D0}">
      <dgm:prSet/>
      <dgm:spPr/>
      <dgm:t>
        <a:bodyPr/>
        <a:lstStyle/>
        <a:p>
          <a:endParaRPr lang="en-US"/>
        </a:p>
      </dgm:t>
    </dgm:pt>
    <dgm:pt modelId="{7A26E861-AF89-6F4A-88AE-4CE5F18F3043}" type="sibTrans" cxnId="{A36B01A2-EF46-2B4A-B4B9-5FCB9A2315D0}">
      <dgm:prSet/>
      <dgm:spPr/>
      <dgm:t>
        <a:bodyPr/>
        <a:lstStyle/>
        <a:p>
          <a:endParaRPr lang="en-US"/>
        </a:p>
      </dgm:t>
    </dgm:pt>
    <dgm:pt modelId="{D388754C-8CDF-944F-81D9-734A1D624DE5}">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Structure, naming, and order of sections</a:t>
          </a:r>
          <a:endParaRPr lang="en-US" b="1" dirty="0">
            <a:effectLst>
              <a:outerShdw blurRad="50800" dist="38100" dir="2700000" algn="tl" rotWithShape="0">
                <a:prstClr val="black">
                  <a:alpha val="40000"/>
                </a:prstClr>
              </a:outerShdw>
            </a:effectLst>
          </a:endParaRPr>
        </a:p>
      </dgm:t>
    </dgm:pt>
    <dgm:pt modelId="{7D0C8FC0-2822-5146-86DC-E862D57D28F7}" type="parTrans" cxnId="{6395D2D6-9093-984B-BF32-B7A82BED7ADA}">
      <dgm:prSet/>
      <dgm:spPr/>
      <dgm:t>
        <a:bodyPr/>
        <a:lstStyle/>
        <a:p>
          <a:endParaRPr lang="en-US"/>
        </a:p>
      </dgm:t>
    </dgm:pt>
    <dgm:pt modelId="{06E79FDE-5F09-BB4D-B6D0-7AB67CB26B63}" type="sibTrans" cxnId="{6395D2D6-9093-984B-BF32-B7A82BED7ADA}">
      <dgm:prSet/>
      <dgm:spPr/>
      <dgm:t>
        <a:bodyPr/>
        <a:lstStyle/>
        <a:p>
          <a:endParaRPr lang="en-US"/>
        </a:p>
      </dgm:t>
    </dgm:pt>
    <dgm:pt modelId="{67FD2AD4-7083-B34B-8AB9-E13081EF86F9}">
      <dgm:prSet phldrT="[Text]"/>
      <dgm:spPr>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Market Products Effectively</a:t>
          </a:r>
          <a:endParaRPr lang="en-US" b="1" dirty="0">
            <a:effectLst>
              <a:outerShdw blurRad="50800" dist="38100" dir="2700000" algn="tl" rotWithShape="0">
                <a:prstClr val="black">
                  <a:alpha val="40000"/>
                </a:prstClr>
              </a:outerShdw>
            </a:effectLst>
          </a:endParaRPr>
        </a:p>
      </dgm:t>
    </dgm:pt>
    <dgm:pt modelId="{F409B74A-4849-4F40-B00A-E62D8179565D}" type="parTrans" cxnId="{1BA6F9EE-A2DD-0743-9AB9-02C159019733}">
      <dgm:prSet/>
      <dgm:spPr/>
      <dgm:t>
        <a:bodyPr/>
        <a:lstStyle/>
        <a:p>
          <a:endParaRPr lang="en-US"/>
        </a:p>
      </dgm:t>
    </dgm:pt>
    <dgm:pt modelId="{3897B640-7E39-3E42-96E9-264EBC4AEE1F}" type="sibTrans" cxnId="{1BA6F9EE-A2DD-0743-9AB9-02C159019733}">
      <dgm:prSet/>
      <dgm:spPr/>
      <dgm:t>
        <a:bodyPr/>
        <a:lstStyle/>
        <a:p>
          <a:endParaRPr lang="en-US"/>
        </a:p>
      </dgm:t>
    </dgm:pt>
    <dgm:pt modelId="{480C2FAB-0A28-DC43-92DE-A584FB0DAE31}">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Test ideal product visuals</a:t>
          </a:r>
          <a:endParaRPr lang="en-US" b="1" dirty="0">
            <a:effectLst>
              <a:outerShdw blurRad="50800" dist="38100" dir="2700000" algn="tl" rotWithShape="0">
                <a:prstClr val="black">
                  <a:alpha val="40000"/>
                </a:prstClr>
              </a:outerShdw>
            </a:effectLst>
          </a:endParaRPr>
        </a:p>
      </dgm:t>
    </dgm:pt>
    <dgm:pt modelId="{D5307D3E-A636-324D-8C3A-9829230BB487}" type="parTrans" cxnId="{468376E6-F32C-784C-AF1C-F32F9EEE22F0}">
      <dgm:prSet/>
      <dgm:spPr/>
      <dgm:t>
        <a:bodyPr/>
        <a:lstStyle/>
        <a:p>
          <a:endParaRPr lang="en-US"/>
        </a:p>
      </dgm:t>
    </dgm:pt>
    <dgm:pt modelId="{A7E8F226-EDDB-004D-8FA7-624FBA8EE44D}" type="sibTrans" cxnId="{468376E6-F32C-784C-AF1C-F32F9EEE22F0}">
      <dgm:prSet/>
      <dgm:spPr/>
      <dgm:t>
        <a:bodyPr/>
        <a:lstStyle/>
        <a:p>
          <a:endParaRPr lang="en-US"/>
        </a:p>
      </dgm:t>
    </dgm:pt>
    <dgm:pt modelId="{73C75B63-3273-2346-8A61-65D3F5E8CBC0}">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Use the right review systems</a:t>
          </a:r>
          <a:endParaRPr lang="en-US" b="1" dirty="0">
            <a:effectLst>
              <a:outerShdw blurRad="50800" dist="38100" dir="2700000" algn="tl" rotWithShape="0">
                <a:prstClr val="black">
                  <a:alpha val="40000"/>
                </a:prstClr>
              </a:outerShdw>
            </a:effectLst>
          </a:endParaRPr>
        </a:p>
      </dgm:t>
    </dgm:pt>
    <dgm:pt modelId="{411D2A1A-9B4A-674A-B93D-2C923CBCDFDB}" type="parTrans" cxnId="{DE82662A-7317-3A44-9B7E-83AB1D77A8E6}">
      <dgm:prSet/>
      <dgm:spPr/>
      <dgm:t>
        <a:bodyPr/>
        <a:lstStyle/>
        <a:p>
          <a:endParaRPr lang="en-US"/>
        </a:p>
      </dgm:t>
    </dgm:pt>
    <dgm:pt modelId="{0DA3E687-69A2-C040-A91D-CC726019B849}" type="sibTrans" cxnId="{DE82662A-7317-3A44-9B7E-83AB1D77A8E6}">
      <dgm:prSet/>
      <dgm:spPr/>
      <dgm:t>
        <a:bodyPr/>
        <a:lstStyle/>
        <a:p>
          <a:endParaRPr lang="en-US"/>
        </a:p>
      </dgm:t>
    </dgm:pt>
    <dgm:pt modelId="{D069104F-4C0B-3147-953F-A5D93E0C8F12}">
      <dgm:prSet phldrT="[Text]"/>
      <dgm:spPr>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Build a Sense of Urgency</a:t>
          </a:r>
          <a:endParaRPr lang="en-US" b="1" dirty="0">
            <a:effectLst>
              <a:outerShdw blurRad="50800" dist="38100" dir="2700000" algn="tl" rotWithShape="0">
                <a:prstClr val="black">
                  <a:alpha val="40000"/>
                </a:prstClr>
              </a:outerShdw>
            </a:effectLst>
          </a:endParaRPr>
        </a:p>
      </dgm:t>
    </dgm:pt>
    <dgm:pt modelId="{E110FCDD-5DD2-7A49-B84B-225145A8853A}" type="parTrans" cxnId="{B456C1ED-CE32-F147-B0E7-907F06C4219F}">
      <dgm:prSet/>
      <dgm:spPr/>
      <dgm:t>
        <a:bodyPr/>
        <a:lstStyle/>
        <a:p>
          <a:endParaRPr lang="en-US"/>
        </a:p>
      </dgm:t>
    </dgm:pt>
    <dgm:pt modelId="{39A089AB-A795-484A-A4A6-264956AD86C0}" type="sibTrans" cxnId="{B456C1ED-CE32-F147-B0E7-907F06C4219F}">
      <dgm:prSet/>
      <dgm:spPr/>
      <dgm:t>
        <a:bodyPr/>
        <a:lstStyle/>
        <a:p>
          <a:endParaRPr lang="en-US"/>
        </a:p>
      </dgm:t>
    </dgm:pt>
    <dgm:pt modelId="{C3ACB4D6-7889-774B-A5F7-FFA378C074CF}">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Show quantity left</a:t>
          </a:r>
          <a:endParaRPr lang="en-US" b="1" dirty="0">
            <a:effectLst>
              <a:outerShdw blurRad="50800" dist="38100" dir="2700000" algn="tl" rotWithShape="0">
                <a:prstClr val="black">
                  <a:alpha val="40000"/>
                </a:prstClr>
              </a:outerShdw>
            </a:effectLst>
          </a:endParaRPr>
        </a:p>
      </dgm:t>
    </dgm:pt>
    <dgm:pt modelId="{2D781344-65A3-CC42-AE48-89E6ECA195E3}" type="parTrans" cxnId="{B03B2853-7799-6542-973F-38921B9C59DC}">
      <dgm:prSet/>
      <dgm:spPr/>
      <dgm:t>
        <a:bodyPr/>
        <a:lstStyle/>
        <a:p>
          <a:endParaRPr lang="en-US"/>
        </a:p>
      </dgm:t>
    </dgm:pt>
    <dgm:pt modelId="{D38DE1B7-1B09-0E49-ACB8-C9CFDEF1647E}" type="sibTrans" cxnId="{B03B2853-7799-6542-973F-38921B9C59DC}">
      <dgm:prSet/>
      <dgm:spPr/>
      <dgm:t>
        <a:bodyPr/>
        <a:lstStyle/>
        <a:p>
          <a:endParaRPr lang="en-US"/>
        </a:p>
      </dgm:t>
    </dgm:pt>
    <dgm:pt modelId="{02A61A4C-1F65-A841-A4A7-C10C1A746FA0}">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Push temporary offers</a:t>
          </a:r>
          <a:endParaRPr lang="en-US" b="1" dirty="0">
            <a:effectLst>
              <a:outerShdw blurRad="50800" dist="38100" dir="2700000" algn="tl" rotWithShape="0">
                <a:prstClr val="black">
                  <a:alpha val="40000"/>
                </a:prstClr>
              </a:outerShdw>
            </a:effectLst>
          </a:endParaRPr>
        </a:p>
      </dgm:t>
    </dgm:pt>
    <dgm:pt modelId="{9197C098-8C8E-D049-B974-F3A046C386B0}" type="parTrans" cxnId="{44982454-02A3-964A-A7E9-6B1BED7E6639}">
      <dgm:prSet/>
      <dgm:spPr/>
      <dgm:t>
        <a:bodyPr/>
        <a:lstStyle/>
        <a:p>
          <a:endParaRPr lang="en-US"/>
        </a:p>
      </dgm:t>
    </dgm:pt>
    <dgm:pt modelId="{9C0643BD-024C-6945-806C-AD1907A088E2}" type="sibTrans" cxnId="{44982454-02A3-964A-A7E9-6B1BED7E6639}">
      <dgm:prSet/>
      <dgm:spPr/>
      <dgm:t>
        <a:bodyPr/>
        <a:lstStyle/>
        <a:p>
          <a:endParaRPr lang="en-US"/>
        </a:p>
      </dgm:t>
    </dgm:pt>
    <dgm:pt modelId="{6308DAA9-F7A4-2D4C-A7FF-EBCD8392D5BE}">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Promote buying before set times</a:t>
          </a:r>
          <a:endParaRPr lang="en-US" b="1" dirty="0">
            <a:effectLst>
              <a:outerShdw blurRad="50800" dist="38100" dir="2700000" algn="tl" rotWithShape="0">
                <a:prstClr val="black">
                  <a:alpha val="40000"/>
                </a:prstClr>
              </a:outerShdw>
            </a:effectLst>
          </a:endParaRPr>
        </a:p>
      </dgm:t>
    </dgm:pt>
    <dgm:pt modelId="{2541B10E-6F92-C44B-974B-71F50AD1905E}" type="sibTrans" cxnId="{4C4FAA6A-FB05-D740-AF92-B5A4CD82B0CC}">
      <dgm:prSet/>
      <dgm:spPr/>
      <dgm:t>
        <a:bodyPr/>
        <a:lstStyle/>
        <a:p>
          <a:endParaRPr lang="en-US"/>
        </a:p>
      </dgm:t>
    </dgm:pt>
    <dgm:pt modelId="{9ACF3F41-8BA2-7647-A016-D4E5A2A50965}" type="parTrans" cxnId="{4C4FAA6A-FB05-D740-AF92-B5A4CD82B0CC}">
      <dgm:prSet/>
      <dgm:spPr/>
      <dgm:t>
        <a:bodyPr/>
        <a:lstStyle/>
        <a:p>
          <a:endParaRPr lang="en-US"/>
        </a:p>
      </dgm:t>
    </dgm:pt>
    <dgm:pt modelId="{A53C0CFE-184A-1146-8FA6-FFD39694D4B0}">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Find ideal description text / length</a:t>
          </a:r>
          <a:endParaRPr lang="en-US" b="1" dirty="0">
            <a:effectLst>
              <a:outerShdw blurRad="50800" dist="38100" dir="2700000" algn="tl" rotWithShape="0">
                <a:prstClr val="black">
                  <a:alpha val="40000"/>
                </a:prstClr>
              </a:outerShdw>
            </a:effectLst>
          </a:endParaRPr>
        </a:p>
      </dgm:t>
    </dgm:pt>
    <dgm:pt modelId="{713A8226-1B84-4E41-A1CB-EBD5E7CFFDE7}" type="sibTrans" cxnId="{DE475260-3A92-934F-B6B6-0F0EE16460F4}">
      <dgm:prSet/>
      <dgm:spPr/>
      <dgm:t>
        <a:bodyPr/>
        <a:lstStyle/>
        <a:p>
          <a:endParaRPr lang="en-US"/>
        </a:p>
      </dgm:t>
    </dgm:pt>
    <dgm:pt modelId="{3096FC50-CDEA-CD40-A16C-4FE101488966}" type="parTrans" cxnId="{DE475260-3A92-934F-B6B6-0F0EE16460F4}">
      <dgm:prSet/>
      <dgm:spPr/>
      <dgm:t>
        <a:bodyPr/>
        <a:lstStyle/>
        <a:p>
          <a:endParaRPr lang="en-US"/>
        </a:p>
      </dgm:t>
    </dgm:pt>
    <dgm:pt modelId="{5959550F-67B9-B04E-91C4-902A91EFE7E5}">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Use iconography</a:t>
          </a:r>
          <a:endParaRPr lang="en-US" b="1" dirty="0">
            <a:effectLst>
              <a:outerShdw blurRad="50800" dist="38100" dir="2700000" algn="tl" rotWithShape="0">
                <a:prstClr val="black">
                  <a:alpha val="40000"/>
                </a:prstClr>
              </a:outerShdw>
            </a:effectLst>
          </a:endParaRPr>
        </a:p>
      </dgm:t>
    </dgm:pt>
    <dgm:pt modelId="{13323021-6798-904F-A2E1-2BF25AC8C76A}" type="sibTrans" cxnId="{765F496A-DF0A-D340-82AA-515F7E305441}">
      <dgm:prSet/>
      <dgm:spPr/>
      <dgm:t>
        <a:bodyPr/>
        <a:lstStyle/>
        <a:p>
          <a:endParaRPr lang="en-US"/>
        </a:p>
      </dgm:t>
    </dgm:pt>
    <dgm:pt modelId="{BEEC9641-8114-8F4D-8D80-33DB53450849}" type="parTrans" cxnId="{765F496A-DF0A-D340-82AA-515F7E305441}">
      <dgm:prSet/>
      <dgm:spPr/>
      <dgm:t>
        <a:bodyPr/>
        <a:lstStyle/>
        <a:p>
          <a:endParaRPr lang="en-US"/>
        </a:p>
      </dgm:t>
    </dgm:pt>
    <dgm:pt modelId="{1DF3C01B-2614-5C42-80DD-7422BFA9073B}">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Communicate visually</a:t>
          </a:r>
          <a:endParaRPr lang="en-US" b="1" dirty="0">
            <a:effectLst>
              <a:outerShdw blurRad="50800" dist="38100" dir="2700000" algn="tl" rotWithShape="0">
                <a:prstClr val="black">
                  <a:alpha val="40000"/>
                </a:prstClr>
              </a:outerShdw>
            </a:effectLst>
          </a:endParaRPr>
        </a:p>
      </dgm:t>
    </dgm:pt>
    <dgm:pt modelId="{036CF8FE-F202-7F4F-841D-5436F4E76D0C}" type="sibTrans" cxnId="{D3656547-4FE9-5C46-8AF9-1BAE6BBB3612}">
      <dgm:prSet/>
      <dgm:spPr/>
      <dgm:t>
        <a:bodyPr/>
        <a:lstStyle/>
        <a:p>
          <a:endParaRPr lang="en-US"/>
        </a:p>
      </dgm:t>
    </dgm:pt>
    <dgm:pt modelId="{EFC072AF-A0F9-2340-A2B6-3F5834C6C0F3}" type="parTrans" cxnId="{D3656547-4FE9-5C46-8AF9-1BAE6BBB3612}">
      <dgm:prSet/>
      <dgm:spPr/>
      <dgm:t>
        <a:bodyPr/>
        <a:lstStyle/>
        <a:p>
          <a:endParaRPr lang="en-US"/>
        </a:p>
      </dgm:t>
    </dgm:pt>
    <dgm:pt modelId="{338A4ADE-7A0B-DA46-A749-6378547614AE}">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Limit number of choices</a:t>
          </a:r>
          <a:endParaRPr lang="en-US" b="1" dirty="0">
            <a:effectLst>
              <a:outerShdw blurRad="50800" dist="38100" dir="2700000" algn="tl" rotWithShape="0">
                <a:prstClr val="black">
                  <a:alpha val="40000"/>
                </a:prstClr>
              </a:outerShdw>
            </a:effectLst>
          </a:endParaRPr>
        </a:p>
      </dgm:t>
    </dgm:pt>
    <dgm:pt modelId="{DAB67360-C5DA-964D-A265-B384EDA879CD}" type="sibTrans" cxnId="{6F47062D-6E63-1C4F-8B35-A2743E2FDBE3}">
      <dgm:prSet/>
      <dgm:spPr/>
      <dgm:t>
        <a:bodyPr/>
        <a:lstStyle/>
        <a:p>
          <a:endParaRPr lang="en-US"/>
        </a:p>
      </dgm:t>
    </dgm:pt>
    <dgm:pt modelId="{7085B25D-4135-BC43-B854-9EAACE03C079}" type="parTrans" cxnId="{6F47062D-6E63-1C4F-8B35-A2743E2FDBE3}">
      <dgm:prSet/>
      <dgm:spPr/>
      <dgm:t>
        <a:bodyPr/>
        <a:lstStyle/>
        <a:p>
          <a:endParaRPr lang="en-US"/>
        </a:p>
      </dgm:t>
    </dgm:pt>
    <dgm:pt modelId="{6ED0CB55-86AA-574C-ACD3-3B855323E998}">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Design / color / iconography</a:t>
          </a:r>
          <a:endParaRPr lang="en-US" b="1" dirty="0">
            <a:effectLst>
              <a:outerShdw blurRad="50800" dist="38100" dir="2700000" algn="tl" rotWithShape="0">
                <a:prstClr val="black">
                  <a:alpha val="40000"/>
                </a:prstClr>
              </a:outerShdw>
            </a:effectLst>
          </a:endParaRPr>
        </a:p>
      </dgm:t>
    </dgm:pt>
    <dgm:pt modelId="{29D931B7-5EF3-7C46-8DD6-E1AF7D9AF902}" type="sibTrans" cxnId="{2DB5EFD8-AA35-3D44-982F-3C839A1C30C0}">
      <dgm:prSet/>
      <dgm:spPr/>
      <dgm:t>
        <a:bodyPr/>
        <a:lstStyle/>
        <a:p>
          <a:endParaRPr lang="en-US"/>
        </a:p>
      </dgm:t>
    </dgm:pt>
    <dgm:pt modelId="{7D0052A5-00E7-E545-B888-401A40246FF3}" type="parTrans" cxnId="{2DB5EFD8-AA35-3D44-982F-3C839A1C30C0}">
      <dgm:prSet/>
      <dgm:spPr/>
      <dgm:t>
        <a:bodyPr/>
        <a:lstStyle/>
        <a:p>
          <a:endParaRPr lang="en-US"/>
        </a:p>
      </dgm:t>
    </dgm:pt>
    <dgm:pt modelId="{30607E5D-7EC8-8446-AD48-AEEC633315C8}" type="pres">
      <dgm:prSet presAssocID="{AF3357FD-18B0-1644-966C-BCE3778B58DD}" presName="hierChild1" presStyleCnt="0">
        <dgm:presLayoutVars>
          <dgm:orgChart val="1"/>
          <dgm:chPref val="1"/>
          <dgm:dir/>
          <dgm:animOne val="branch"/>
          <dgm:animLvl val="lvl"/>
          <dgm:resizeHandles/>
        </dgm:presLayoutVars>
      </dgm:prSet>
      <dgm:spPr/>
      <dgm:t>
        <a:bodyPr/>
        <a:lstStyle/>
        <a:p>
          <a:endParaRPr lang="en-US"/>
        </a:p>
      </dgm:t>
    </dgm:pt>
    <dgm:pt modelId="{01768E30-7C00-9D46-B106-9803EF77DB72}" type="pres">
      <dgm:prSet presAssocID="{25517EF2-3665-EB4B-9D7F-2C037C685C4E}" presName="hierRoot1" presStyleCnt="0">
        <dgm:presLayoutVars>
          <dgm:hierBranch val="init"/>
        </dgm:presLayoutVars>
      </dgm:prSet>
      <dgm:spPr/>
    </dgm:pt>
    <dgm:pt modelId="{37E44035-6D06-FE4D-927A-CD14E98DC4F7}" type="pres">
      <dgm:prSet presAssocID="{25517EF2-3665-EB4B-9D7F-2C037C685C4E}" presName="rootComposite1" presStyleCnt="0"/>
      <dgm:spPr/>
    </dgm:pt>
    <dgm:pt modelId="{06637420-A86F-4644-990A-75D86B7E454C}" type="pres">
      <dgm:prSet presAssocID="{25517EF2-3665-EB4B-9D7F-2C037C685C4E}" presName="rootText1" presStyleLbl="node0" presStyleIdx="0" presStyleCnt="1" custScaleX="125731" custScaleY="163289">
        <dgm:presLayoutVars>
          <dgm:chPref val="3"/>
        </dgm:presLayoutVars>
      </dgm:prSet>
      <dgm:spPr>
        <a:prstGeom prst="roundRect">
          <a:avLst/>
        </a:prstGeom>
      </dgm:spPr>
      <dgm:t>
        <a:bodyPr/>
        <a:lstStyle/>
        <a:p>
          <a:endParaRPr lang="en-US"/>
        </a:p>
      </dgm:t>
    </dgm:pt>
    <dgm:pt modelId="{466535D8-AEE6-1D47-974F-880041EEEAA5}" type="pres">
      <dgm:prSet presAssocID="{25517EF2-3665-EB4B-9D7F-2C037C685C4E}" presName="rootConnector1" presStyleLbl="node1" presStyleIdx="0" presStyleCnt="0"/>
      <dgm:spPr/>
      <dgm:t>
        <a:bodyPr/>
        <a:lstStyle/>
        <a:p>
          <a:endParaRPr lang="en-US"/>
        </a:p>
      </dgm:t>
    </dgm:pt>
    <dgm:pt modelId="{C176592F-E087-B04D-9588-EF6FC2F92869}" type="pres">
      <dgm:prSet presAssocID="{25517EF2-3665-EB4B-9D7F-2C037C685C4E}" presName="hierChild2" presStyleCnt="0"/>
      <dgm:spPr/>
    </dgm:pt>
    <dgm:pt modelId="{0F5D9B2B-0CE6-4D47-A7B6-80BAEBDC59FC}" type="pres">
      <dgm:prSet presAssocID="{07AFA923-B56F-0042-B585-5B06F0FA0896}" presName="Name37" presStyleLbl="parChTrans1D2" presStyleIdx="0" presStyleCnt="6" custSzY="569430"/>
      <dgm:spPr/>
      <dgm:t>
        <a:bodyPr/>
        <a:lstStyle/>
        <a:p>
          <a:endParaRPr lang="en-US"/>
        </a:p>
      </dgm:t>
    </dgm:pt>
    <dgm:pt modelId="{0F65DF5F-EBEB-B343-9794-35C42F4DC89D}" type="pres">
      <dgm:prSet presAssocID="{4B26847B-222F-E04F-B93F-7958496DA65C}" presName="hierRoot2" presStyleCnt="0">
        <dgm:presLayoutVars>
          <dgm:hierBranch val="init"/>
        </dgm:presLayoutVars>
      </dgm:prSet>
      <dgm:spPr/>
    </dgm:pt>
    <dgm:pt modelId="{D29FBFF0-EB79-0F4F-8C4A-4AF2BBB0A047}" type="pres">
      <dgm:prSet presAssocID="{4B26847B-222F-E04F-B93F-7958496DA65C}" presName="rootComposite" presStyleCnt="0"/>
      <dgm:spPr/>
    </dgm:pt>
    <dgm:pt modelId="{91D7ADA8-1475-9349-913E-9C2D53C1D7C9}" type="pres">
      <dgm:prSet presAssocID="{4B26847B-222F-E04F-B93F-7958496DA65C}" presName="rootText" presStyleLbl="node2" presStyleIdx="0" presStyleCnt="6" custScaleX="122545" custScaleY="163289">
        <dgm:presLayoutVars>
          <dgm:chPref val="3"/>
        </dgm:presLayoutVars>
      </dgm:prSet>
      <dgm:spPr>
        <a:prstGeom prst="roundRect">
          <a:avLst/>
        </a:prstGeom>
      </dgm:spPr>
      <dgm:t>
        <a:bodyPr/>
        <a:lstStyle/>
        <a:p>
          <a:endParaRPr lang="en-US"/>
        </a:p>
      </dgm:t>
    </dgm:pt>
    <dgm:pt modelId="{A7DBADC9-C072-5C48-A3E3-552A2F42BAEE}" type="pres">
      <dgm:prSet presAssocID="{4B26847B-222F-E04F-B93F-7958496DA65C}" presName="rootConnector" presStyleLbl="node2" presStyleIdx="0" presStyleCnt="6"/>
      <dgm:spPr/>
      <dgm:t>
        <a:bodyPr/>
        <a:lstStyle/>
        <a:p>
          <a:endParaRPr lang="en-US"/>
        </a:p>
      </dgm:t>
    </dgm:pt>
    <dgm:pt modelId="{69158542-B581-0247-BAE6-60E62584FEB9}" type="pres">
      <dgm:prSet presAssocID="{4B26847B-222F-E04F-B93F-7958496DA65C}" presName="hierChild4" presStyleCnt="0"/>
      <dgm:spPr/>
    </dgm:pt>
    <dgm:pt modelId="{44E963F3-2784-9E43-9E90-000EB562AE2A}" type="pres">
      <dgm:prSet presAssocID="{33424807-C11D-7C4A-85E7-BB0E19ACD352}" presName="Name37" presStyleLbl="parChTrans1D3" presStyleIdx="0" presStyleCnt="18" custSzY="1501939"/>
      <dgm:spPr/>
      <dgm:t>
        <a:bodyPr/>
        <a:lstStyle/>
        <a:p>
          <a:endParaRPr lang="en-US"/>
        </a:p>
      </dgm:t>
    </dgm:pt>
    <dgm:pt modelId="{53955494-3838-2F45-BEBB-CE94816E60BA}" type="pres">
      <dgm:prSet presAssocID="{50B35D2E-59F3-7346-A146-7B84569A5183}" presName="hierRoot2" presStyleCnt="0">
        <dgm:presLayoutVars>
          <dgm:hierBranch val="init"/>
        </dgm:presLayoutVars>
      </dgm:prSet>
      <dgm:spPr/>
    </dgm:pt>
    <dgm:pt modelId="{282371C0-CB9F-F142-BFE4-23129E24152E}" type="pres">
      <dgm:prSet presAssocID="{50B35D2E-59F3-7346-A146-7B84569A5183}" presName="rootComposite" presStyleCnt="0"/>
      <dgm:spPr/>
    </dgm:pt>
    <dgm:pt modelId="{2ED78204-93EC-064C-823A-1586CD82394C}" type="pres">
      <dgm:prSet presAssocID="{50B35D2E-59F3-7346-A146-7B84569A5183}" presName="rootText" presStyleLbl="node3" presStyleIdx="0" presStyleCnt="18" custScaleY="163289">
        <dgm:presLayoutVars>
          <dgm:chPref val="3"/>
        </dgm:presLayoutVars>
      </dgm:prSet>
      <dgm:spPr>
        <a:prstGeom prst="roundRect">
          <a:avLst/>
        </a:prstGeom>
      </dgm:spPr>
      <dgm:t>
        <a:bodyPr/>
        <a:lstStyle/>
        <a:p>
          <a:endParaRPr lang="en-US"/>
        </a:p>
      </dgm:t>
    </dgm:pt>
    <dgm:pt modelId="{36770380-7547-ED48-AB39-E00707E5AE49}" type="pres">
      <dgm:prSet presAssocID="{50B35D2E-59F3-7346-A146-7B84569A5183}" presName="rootConnector" presStyleLbl="node3" presStyleIdx="0" presStyleCnt="18"/>
      <dgm:spPr/>
      <dgm:t>
        <a:bodyPr/>
        <a:lstStyle/>
        <a:p>
          <a:endParaRPr lang="en-US"/>
        </a:p>
      </dgm:t>
    </dgm:pt>
    <dgm:pt modelId="{7FD810D4-2EE4-0A43-B7CD-AE490DD9C8B4}" type="pres">
      <dgm:prSet presAssocID="{50B35D2E-59F3-7346-A146-7B84569A5183}" presName="hierChild4" presStyleCnt="0"/>
      <dgm:spPr/>
    </dgm:pt>
    <dgm:pt modelId="{A06DA4CD-7588-714E-AB31-0B7105F724FF}" type="pres">
      <dgm:prSet presAssocID="{50B35D2E-59F3-7346-A146-7B84569A5183}" presName="hierChild5" presStyleCnt="0"/>
      <dgm:spPr/>
    </dgm:pt>
    <dgm:pt modelId="{88E2A4D5-E62D-B048-BDF2-2627D68216CE}" type="pres">
      <dgm:prSet presAssocID="{3B5A4386-A293-8747-A207-2A8D5CABEA7A}" presName="Name37" presStyleLbl="parChTrans1D3" presStyleIdx="1" presStyleCnt="18" custSzY="3936388"/>
      <dgm:spPr/>
      <dgm:t>
        <a:bodyPr/>
        <a:lstStyle/>
        <a:p>
          <a:endParaRPr lang="en-US"/>
        </a:p>
      </dgm:t>
    </dgm:pt>
    <dgm:pt modelId="{C7C9DA51-6B03-C94F-93CB-D44D3137A8B1}" type="pres">
      <dgm:prSet presAssocID="{C6588B98-FB28-334E-BDCA-56820ACB0569}" presName="hierRoot2" presStyleCnt="0">
        <dgm:presLayoutVars>
          <dgm:hierBranch val="init"/>
        </dgm:presLayoutVars>
      </dgm:prSet>
      <dgm:spPr/>
    </dgm:pt>
    <dgm:pt modelId="{CCCCC64E-4161-4D41-9593-1A4F78C7EF17}" type="pres">
      <dgm:prSet presAssocID="{C6588B98-FB28-334E-BDCA-56820ACB0569}" presName="rootComposite" presStyleCnt="0"/>
      <dgm:spPr/>
    </dgm:pt>
    <dgm:pt modelId="{3B98D480-5A9A-0A4D-8BDC-FE216FA48EE4}" type="pres">
      <dgm:prSet presAssocID="{C6588B98-FB28-334E-BDCA-56820ACB0569}" presName="rootText" presStyleLbl="node3" presStyleIdx="1" presStyleCnt="18" custScaleY="163289">
        <dgm:presLayoutVars>
          <dgm:chPref val="3"/>
        </dgm:presLayoutVars>
      </dgm:prSet>
      <dgm:spPr>
        <a:prstGeom prst="roundRect">
          <a:avLst/>
        </a:prstGeom>
      </dgm:spPr>
      <dgm:t>
        <a:bodyPr/>
        <a:lstStyle/>
        <a:p>
          <a:endParaRPr lang="en-US"/>
        </a:p>
      </dgm:t>
    </dgm:pt>
    <dgm:pt modelId="{CCA6A030-3016-FB4D-BB2D-797B6CA6511F}" type="pres">
      <dgm:prSet presAssocID="{C6588B98-FB28-334E-BDCA-56820ACB0569}" presName="rootConnector" presStyleLbl="node3" presStyleIdx="1" presStyleCnt="18"/>
      <dgm:spPr/>
      <dgm:t>
        <a:bodyPr/>
        <a:lstStyle/>
        <a:p>
          <a:endParaRPr lang="en-US"/>
        </a:p>
      </dgm:t>
    </dgm:pt>
    <dgm:pt modelId="{893D50E5-BFD6-374D-B623-8C8F06D30FB9}" type="pres">
      <dgm:prSet presAssocID="{C6588B98-FB28-334E-BDCA-56820ACB0569}" presName="hierChild4" presStyleCnt="0"/>
      <dgm:spPr/>
    </dgm:pt>
    <dgm:pt modelId="{9A169D03-FEAA-964F-82BE-17DF2B44F83D}" type="pres">
      <dgm:prSet presAssocID="{C6588B98-FB28-334E-BDCA-56820ACB0569}" presName="hierChild5" presStyleCnt="0"/>
      <dgm:spPr/>
    </dgm:pt>
    <dgm:pt modelId="{CDA8158C-1C6B-024B-9E64-1510DD2C7A55}" type="pres">
      <dgm:prSet presAssocID="{7D0052A5-00E7-E545-B888-401A40246FF3}" presName="Name37" presStyleLbl="parChTrans1D3" presStyleIdx="2" presStyleCnt="18" custSzY="6370837"/>
      <dgm:spPr/>
      <dgm:t>
        <a:bodyPr/>
        <a:lstStyle/>
        <a:p>
          <a:endParaRPr lang="en-US"/>
        </a:p>
      </dgm:t>
    </dgm:pt>
    <dgm:pt modelId="{86D1A16A-2EDC-7B49-BDD5-ADA121CED2D3}" type="pres">
      <dgm:prSet presAssocID="{6ED0CB55-86AA-574C-ACD3-3B855323E998}" presName="hierRoot2" presStyleCnt="0">
        <dgm:presLayoutVars>
          <dgm:hierBranch val="init"/>
        </dgm:presLayoutVars>
      </dgm:prSet>
      <dgm:spPr/>
    </dgm:pt>
    <dgm:pt modelId="{64FB60A2-29ED-0C42-82BE-AEF32C4DEBD0}" type="pres">
      <dgm:prSet presAssocID="{6ED0CB55-86AA-574C-ACD3-3B855323E998}" presName="rootComposite" presStyleCnt="0"/>
      <dgm:spPr/>
    </dgm:pt>
    <dgm:pt modelId="{2C0E0A56-4821-5340-9545-5653DBEF3E82}" type="pres">
      <dgm:prSet presAssocID="{6ED0CB55-86AA-574C-ACD3-3B855323E998}" presName="rootText" presStyleLbl="node3" presStyleIdx="2" presStyleCnt="18" custScaleY="163289">
        <dgm:presLayoutVars>
          <dgm:chPref val="3"/>
        </dgm:presLayoutVars>
      </dgm:prSet>
      <dgm:spPr>
        <a:prstGeom prst="roundRect">
          <a:avLst/>
        </a:prstGeom>
      </dgm:spPr>
      <dgm:t>
        <a:bodyPr/>
        <a:lstStyle/>
        <a:p>
          <a:endParaRPr lang="en-US"/>
        </a:p>
      </dgm:t>
    </dgm:pt>
    <dgm:pt modelId="{10D8D681-CBDA-D246-9198-063E1F1463D5}" type="pres">
      <dgm:prSet presAssocID="{6ED0CB55-86AA-574C-ACD3-3B855323E998}" presName="rootConnector" presStyleLbl="node3" presStyleIdx="2" presStyleCnt="18"/>
      <dgm:spPr/>
      <dgm:t>
        <a:bodyPr/>
        <a:lstStyle/>
        <a:p>
          <a:endParaRPr lang="en-US"/>
        </a:p>
      </dgm:t>
    </dgm:pt>
    <dgm:pt modelId="{CC9BABF7-5A8C-E043-A639-9D9F60E49EB2}" type="pres">
      <dgm:prSet presAssocID="{6ED0CB55-86AA-574C-ACD3-3B855323E998}" presName="hierChild4" presStyleCnt="0"/>
      <dgm:spPr/>
    </dgm:pt>
    <dgm:pt modelId="{CE13E513-7EF6-3C4A-BF03-7E569F8E0EFD}" type="pres">
      <dgm:prSet presAssocID="{6ED0CB55-86AA-574C-ACD3-3B855323E998}" presName="hierChild5" presStyleCnt="0"/>
      <dgm:spPr/>
    </dgm:pt>
    <dgm:pt modelId="{99494E59-30AF-C84C-8FAD-74D70922C5BB}" type="pres">
      <dgm:prSet presAssocID="{4B26847B-222F-E04F-B93F-7958496DA65C}" presName="hierChild5" presStyleCnt="0"/>
      <dgm:spPr/>
    </dgm:pt>
    <dgm:pt modelId="{6AB3DB73-5383-E944-8E93-5490DBAC07ED}" type="pres">
      <dgm:prSet presAssocID="{F5F28F68-69DA-C347-938A-3CCF605B29AB}" presName="Name37" presStyleLbl="parChTrans1D2" presStyleIdx="1" presStyleCnt="6" custSzY="569430"/>
      <dgm:spPr/>
      <dgm:t>
        <a:bodyPr/>
        <a:lstStyle/>
        <a:p>
          <a:endParaRPr lang="en-US"/>
        </a:p>
      </dgm:t>
    </dgm:pt>
    <dgm:pt modelId="{063E0CF9-7144-D34B-96D0-290257049F24}" type="pres">
      <dgm:prSet presAssocID="{C70D9AAD-288E-0B4A-A4D2-9169EEB4C5EF}" presName="hierRoot2" presStyleCnt="0">
        <dgm:presLayoutVars>
          <dgm:hierBranch val="init"/>
        </dgm:presLayoutVars>
      </dgm:prSet>
      <dgm:spPr/>
    </dgm:pt>
    <dgm:pt modelId="{9D7957A4-BCF4-A64B-9FA8-89318DD7C26C}" type="pres">
      <dgm:prSet presAssocID="{C70D9AAD-288E-0B4A-A4D2-9169EEB4C5EF}" presName="rootComposite" presStyleCnt="0"/>
      <dgm:spPr/>
    </dgm:pt>
    <dgm:pt modelId="{6A1B3FF2-4302-AB42-9144-D0C7AF33189D}" type="pres">
      <dgm:prSet presAssocID="{C70D9AAD-288E-0B4A-A4D2-9169EEB4C5EF}" presName="rootText" presStyleLbl="node2" presStyleIdx="1" presStyleCnt="6" custScaleX="122545" custScaleY="163289">
        <dgm:presLayoutVars>
          <dgm:chPref val="3"/>
        </dgm:presLayoutVars>
      </dgm:prSet>
      <dgm:spPr>
        <a:prstGeom prst="roundRect">
          <a:avLst/>
        </a:prstGeom>
      </dgm:spPr>
      <dgm:t>
        <a:bodyPr/>
        <a:lstStyle/>
        <a:p>
          <a:endParaRPr lang="en-US"/>
        </a:p>
      </dgm:t>
    </dgm:pt>
    <dgm:pt modelId="{A8476105-19F1-B646-B233-7DFE7667D28F}" type="pres">
      <dgm:prSet presAssocID="{C70D9AAD-288E-0B4A-A4D2-9169EEB4C5EF}" presName="rootConnector" presStyleLbl="node2" presStyleIdx="1" presStyleCnt="6"/>
      <dgm:spPr/>
      <dgm:t>
        <a:bodyPr/>
        <a:lstStyle/>
        <a:p>
          <a:endParaRPr lang="en-US"/>
        </a:p>
      </dgm:t>
    </dgm:pt>
    <dgm:pt modelId="{DB85212C-909C-BE4F-9C57-AA092C9F8F68}" type="pres">
      <dgm:prSet presAssocID="{C70D9AAD-288E-0B4A-A4D2-9169EEB4C5EF}" presName="hierChild4" presStyleCnt="0"/>
      <dgm:spPr/>
    </dgm:pt>
    <dgm:pt modelId="{FCB70BC6-8BC2-7740-8498-E09039141FAE}" type="pres">
      <dgm:prSet presAssocID="{705E07FB-4646-5640-AD39-5663CA022EE0}" presName="Name37" presStyleLbl="parChTrans1D3" presStyleIdx="3" presStyleCnt="18" custSzY="1501939"/>
      <dgm:spPr/>
      <dgm:t>
        <a:bodyPr/>
        <a:lstStyle/>
        <a:p>
          <a:endParaRPr lang="en-US"/>
        </a:p>
      </dgm:t>
    </dgm:pt>
    <dgm:pt modelId="{8A2CB56E-93D1-874C-81A9-9FAC0DA015D2}" type="pres">
      <dgm:prSet presAssocID="{BA6FF226-3807-2346-A740-CE3E60981FB3}" presName="hierRoot2" presStyleCnt="0">
        <dgm:presLayoutVars>
          <dgm:hierBranch val="init"/>
        </dgm:presLayoutVars>
      </dgm:prSet>
      <dgm:spPr/>
    </dgm:pt>
    <dgm:pt modelId="{56803695-D01D-974E-959F-E4FC5996044F}" type="pres">
      <dgm:prSet presAssocID="{BA6FF226-3807-2346-A740-CE3E60981FB3}" presName="rootComposite" presStyleCnt="0"/>
      <dgm:spPr/>
    </dgm:pt>
    <dgm:pt modelId="{22959F47-69F7-D445-9334-5C7C176A2653}" type="pres">
      <dgm:prSet presAssocID="{BA6FF226-3807-2346-A740-CE3E60981FB3}" presName="rootText" presStyleLbl="node3" presStyleIdx="3" presStyleCnt="18" custScaleY="163289">
        <dgm:presLayoutVars>
          <dgm:chPref val="3"/>
        </dgm:presLayoutVars>
      </dgm:prSet>
      <dgm:spPr>
        <a:prstGeom prst="roundRect">
          <a:avLst/>
        </a:prstGeom>
      </dgm:spPr>
      <dgm:t>
        <a:bodyPr/>
        <a:lstStyle/>
        <a:p>
          <a:endParaRPr lang="en-US"/>
        </a:p>
      </dgm:t>
    </dgm:pt>
    <dgm:pt modelId="{8C060B5F-BBBF-2049-9E6B-A69B2A074D8E}" type="pres">
      <dgm:prSet presAssocID="{BA6FF226-3807-2346-A740-CE3E60981FB3}" presName="rootConnector" presStyleLbl="node3" presStyleIdx="3" presStyleCnt="18"/>
      <dgm:spPr/>
      <dgm:t>
        <a:bodyPr/>
        <a:lstStyle/>
        <a:p>
          <a:endParaRPr lang="en-US"/>
        </a:p>
      </dgm:t>
    </dgm:pt>
    <dgm:pt modelId="{175F2BE5-9841-E24D-8258-D4DAB9588C96}" type="pres">
      <dgm:prSet presAssocID="{BA6FF226-3807-2346-A740-CE3E60981FB3}" presName="hierChild4" presStyleCnt="0"/>
      <dgm:spPr/>
    </dgm:pt>
    <dgm:pt modelId="{6C96FA0A-0A57-4A45-A656-B89BDED585EB}" type="pres">
      <dgm:prSet presAssocID="{BA6FF226-3807-2346-A740-CE3E60981FB3}" presName="hierChild5" presStyleCnt="0"/>
      <dgm:spPr/>
    </dgm:pt>
    <dgm:pt modelId="{6CD5F04D-881E-FF45-840F-9065F725359E}" type="pres">
      <dgm:prSet presAssocID="{537E3EB2-8400-9F46-8E14-018A525A6F13}" presName="Name37" presStyleLbl="parChTrans1D3" presStyleIdx="4" presStyleCnt="18" custSzY="3936388"/>
      <dgm:spPr/>
      <dgm:t>
        <a:bodyPr/>
        <a:lstStyle/>
        <a:p>
          <a:endParaRPr lang="en-US"/>
        </a:p>
      </dgm:t>
    </dgm:pt>
    <dgm:pt modelId="{EEB1F1F6-A420-3B4D-83C3-44A0874B3872}" type="pres">
      <dgm:prSet presAssocID="{8C2CA5B6-6500-9D43-9984-AE6727A18F74}" presName="hierRoot2" presStyleCnt="0">
        <dgm:presLayoutVars>
          <dgm:hierBranch val="init"/>
        </dgm:presLayoutVars>
      </dgm:prSet>
      <dgm:spPr/>
    </dgm:pt>
    <dgm:pt modelId="{866BA078-C3D3-2F4C-A7CC-2903AAEBC56E}" type="pres">
      <dgm:prSet presAssocID="{8C2CA5B6-6500-9D43-9984-AE6727A18F74}" presName="rootComposite" presStyleCnt="0"/>
      <dgm:spPr/>
    </dgm:pt>
    <dgm:pt modelId="{35471471-CB84-0746-BDD4-1655B6C5471A}" type="pres">
      <dgm:prSet presAssocID="{8C2CA5B6-6500-9D43-9984-AE6727A18F74}" presName="rootText" presStyleLbl="node3" presStyleIdx="4" presStyleCnt="18" custScaleY="163289">
        <dgm:presLayoutVars>
          <dgm:chPref val="3"/>
        </dgm:presLayoutVars>
      </dgm:prSet>
      <dgm:spPr>
        <a:prstGeom prst="roundRect">
          <a:avLst/>
        </a:prstGeom>
      </dgm:spPr>
      <dgm:t>
        <a:bodyPr/>
        <a:lstStyle/>
        <a:p>
          <a:endParaRPr lang="en-US"/>
        </a:p>
      </dgm:t>
    </dgm:pt>
    <dgm:pt modelId="{BF48F31E-442A-8542-BEC6-8A1283ECC0DC}" type="pres">
      <dgm:prSet presAssocID="{8C2CA5B6-6500-9D43-9984-AE6727A18F74}" presName="rootConnector" presStyleLbl="node3" presStyleIdx="4" presStyleCnt="18"/>
      <dgm:spPr/>
      <dgm:t>
        <a:bodyPr/>
        <a:lstStyle/>
        <a:p>
          <a:endParaRPr lang="en-US"/>
        </a:p>
      </dgm:t>
    </dgm:pt>
    <dgm:pt modelId="{2F554D91-DC1D-3A4B-BD01-7DD0FBADA47A}" type="pres">
      <dgm:prSet presAssocID="{8C2CA5B6-6500-9D43-9984-AE6727A18F74}" presName="hierChild4" presStyleCnt="0"/>
      <dgm:spPr/>
    </dgm:pt>
    <dgm:pt modelId="{5C57C97C-2160-274D-A8EF-85D36B4657F0}" type="pres">
      <dgm:prSet presAssocID="{8C2CA5B6-6500-9D43-9984-AE6727A18F74}" presName="hierChild5" presStyleCnt="0"/>
      <dgm:spPr/>
    </dgm:pt>
    <dgm:pt modelId="{2DC6FEB6-D342-A148-B4E4-3574392637D2}" type="pres">
      <dgm:prSet presAssocID="{7085B25D-4135-BC43-B854-9EAACE03C079}" presName="Name37" presStyleLbl="parChTrans1D3" presStyleIdx="5" presStyleCnt="18" custSzY="6370837"/>
      <dgm:spPr/>
      <dgm:t>
        <a:bodyPr/>
        <a:lstStyle/>
        <a:p>
          <a:endParaRPr lang="en-US"/>
        </a:p>
      </dgm:t>
    </dgm:pt>
    <dgm:pt modelId="{E7C14A77-D7F1-1E41-9F22-78FC6F14D5DD}" type="pres">
      <dgm:prSet presAssocID="{338A4ADE-7A0B-DA46-A749-6378547614AE}" presName="hierRoot2" presStyleCnt="0">
        <dgm:presLayoutVars>
          <dgm:hierBranch val="init"/>
        </dgm:presLayoutVars>
      </dgm:prSet>
      <dgm:spPr/>
    </dgm:pt>
    <dgm:pt modelId="{345D217C-C154-0B4F-9496-F18800B28FFF}" type="pres">
      <dgm:prSet presAssocID="{338A4ADE-7A0B-DA46-A749-6378547614AE}" presName="rootComposite" presStyleCnt="0"/>
      <dgm:spPr/>
    </dgm:pt>
    <dgm:pt modelId="{9276651D-6194-EA49-8E09-02C1BFFFA9D5}" type="pres">
      <dgm:prSet presAssocID="{338A4ADE-7A0B-DA46-A749-6378547614AE}" presName="rootText" presStyleLbl="node3" presStyleIdx="5" presStyleCnt="18" custScaleY="163289">
        <dgm:presLayoutVars>
          <dgm:chPref val="3"/>
        </dgm:presLayoutVars>
      </dgm:prSet>
      <dgm:spPr>
        <a:prstGeom prst="roundRect">
          <a:avLst/>
        </a:prstGeom>
      </dgm:spPr>
      <dgm:t>
        <a:bodyPr/>
        <a:lstStyle/>
        <a:p>
          <a:endParaRPr lang="en-US"/>
        </a:p>
      </dgm:t>
    </dgm:pt>
    <dgm:pt modelId="{CD5ED238-8A46-9548-AD80-16CB05272A14}" type="pres">
      <dgm:prSet presAssocID="{338A4ADE-7A0B-DA46-A749-6378547614AE}" presName="rootConnector" presStyleLbl="node3" presStyleIdx="5" presStyleCnt="18"/>
      <dgm:spPr/>
      <dgm:t>
        <a:bodyPr/>
        <a:lstStyle/>
        <a:p>
          <a:endParaRPr lang="en-US"/>
        </a:p>
      </dgm:t>
    </dgm:pt>
    <dgm:pt modelId="{BDC06036-AFEF-8F4C-A1E3-0138032EDE75}" type="pres">
      <dgm:prSet presAssocID="{338A4ADE-7A0B-DA46-A749-6378547614AE}" presName="hierChild4" presStyleCnt="0"/>
      <dgm:spPr/>
    </dgm:pt>
    <dgm:pt modelId="{F44A321D-F93F-1847-9AAA-56093CB8396B}" type="pres">
      <dgm:prSet presAssocID="{338A4ADE-7A0B-DA46-A749-6378547614AE}" presName="hierChild5" presStyleCnt="0"/>
      <dgm:spPr/>
    </dgm:pt>
    <dgm:pt modelId="{E7AD0A5D-E521-4D48-A5EC-9A4A203AF9D4}" type="pres">
      <dgm:prSet presAssocID="{C70D9AAD-288E-0B4A-A4D2-9169EEB4C5EF}" presName="hierChild5" presStyleCnt="0"/>
      <dgm:spPr/>
    </dgm:pt>
    <dgm:pt modelId="{910491EA-604E-6842-9866-DF2E9CD33930}" type="pres">
      <dgm:prSet presAssocID="{F35DDD95-A0E8-D04C-90F4-7D2AE6A0AF8D}" presName="Name37" presStyleLbl="parChTrans1D2" presStyleIdx="2" presStyleCnt="6" custSzY="569430"/>
      <dgm:spPr/>
      <dgm:t>
        <a:bodyPr/>
        <a:lstStyle/>
        <a:p>
          <a:endParaRPr lang="en-US"/>
        </a:p>
      </dgm:t>
    </dgm:pt>
    <dgm:pt modelId="{4F6E76D3-53FC-9B40-84F9-F7C25AED53E4}" type="pres">
      <dgm:prSet presAssocID="{5B4F3E0D-971E-3647-86E4-6868F203DC2B}" presName="hierRoot2" presStyleCnt="0">
        <dgm:presLayoutVars>
          <dgm:hierBranch val="init"/>
        </dgm:presLayoutVars>
      </dgm:prSet>
      <dgm:spPr/>
    </dgm:pt>
    <dgm:pt modelId="{71838188-1DD8-7345-B5E8-F0FD31F9988C}" type="pres">
      <dgm:prSet presAssocID="{5B4F3E0D-971E-3647-86E4-6868F203DC2B}" presName="rootComposite" presStyleCnt="0"/>
      <dgm:spPr/>
    </dgm:pt>
    <dgm:pt modelId="{C98D4C05-6DFD-F848-8831-CA53C562EFA9}" type="pres">
      <dgm:prSet presAssocID="{5B4F3E0D-971E-3647-86E4-6868F203DC2B}" presName="rootText" presStyleLbl="node2" presStyleIdx="2" presStyleCnt="6" custScaleX="122545" custScaleY="163289">
        <dgm:presLayoutVars>
          <dgm:chPref val="3"/>
        </dgm:presLayoutVars>
      </dgm:prSet>
      <dgm:spPr>
        <a:prstGeom prst="roundRect">
          <a:avLst/>
        </a:prstGeom>
      </dgm:spPr>
      <dgm:t>
        <a:bodyPr/>
        <a:lstStyle/>
        <a:p>
          <a:endParaRPr lang="en-US"/>
        </a:p>
      </dgm:t>
    </dgm:pt>
    <dgm:pt modelId="{8249A152-56BE-E046-8A45-0C56C7C1D191}" type="pres">
      <dgm:prSet presAssocID="{5B4F3E0D-971E-3647-86E4-6868F203DC2B}" presName="rootConnector" presStyleLbl="node2" presStyleIdx="2" presStyleCnt="6"/>
      <dgm:spPr/>
      <dgm:t>
        <a:bodyPr/>
        <a:lstStyle/>
        <a:p>
          <a:endParaRPr lang="en-US"/>
        </a:p>
      </dgm:t>
    </dgm:pt>
    <dgm:pt modelId="{936D50A9-CCB4-4945-945B-85E46E6A9010}" type="pres">
      <dgm:prSet presAssocID="{5B4F3E0D-971E-3647-86E4-6868F203DC2B}" presName="hierChild4" presStyleCnt="0"/>
      <dgm:spPr/>
    </dgm:pt>
    <dgm:pt modelId="{D62CB30F-6901-594F-8775-B46F34227BC9}" type="pres">
      <dgm:prSet presAssocID="{7FF81494-F22E-3B4A-AE0B-9C51C4A0F12C}" presName="Name37" presStyleLbl="parChTrans1D3" presStyleIdx="6" presStyleCnt="18" custSzY="1501939"/>
      <dgm:spPr/>
      <dgm:t>
        <a:bodyPr/>
        <a:lstStyle/>
        <a:p>
          <a:endParaRPr lang="en-US"/>
        </a:p>
      </dgm:t>
    </dgm:pt>
    <dgm:pt modelId="{2A1E62F8-D51C-B44A-BD70-E6C65A68DCCB}" type="pres">
      <dgm:prSet presAssocID="{1A5ABF02-3DC0-3F46-89A6-D4A83DB904D1}" presName="hierRoot2" presStyleCnt="0">
        <dgm:presLayoutVars>
          <dgm:hierBranch val="init"/>
        </dgm:presLayoutVars>
      </dgm:prSet>
      <dgm:spPr/>
    </dgm:pt>
    <dgm:pt modelId="{F9703759-1D98-084A-B066-79D5FA0B0817}" type="pres">
      <dgm:prSet presAssocID="{1A5ABF02-3DC0-3F46-89A6-D4A83DB904D1}" presName="rootComposite" presStyleCnt="0"/>
      <dgm:spPr/>
    </dgm:pt>
    <dgm:pt modelId="{7AAAE15D-9C55-1D43-B8B7-B04F0D48EABD}" type="pres">
      <dgm:prSet presAssocID="{1A5ABF02-3DC0-3F46-89A6-D4A83DB904D1}" presName="rootText" presStyleLbl="node3" presStyleIdx="6" presStyleCnt="18" custScaleY="163289">
        <dgm:presLayoutVars>
          <dgm:chPref val="3"/>
        </dgm:presLayoutVars>
      </dgm:prSet>
      <dgm:spPr>
        <a:prstGeom prst="roundRect">
          <a:avLst/>
        </a:prstGeom>
      </dgm:spPr>
      <dgm:t>
        <a:bodyPr/>
        <a:lstStyle/>
        <a:p>
          <a:endParaRPr lang="en-US"/>
        </a:p>
      </dgm:t>
    </dgm:pt>
    <dgm:pt modelId="{C8CB1346-EB34-094E-8B3A-28042614FB03}" type="pres">
      <dgm:prSet presAssocID="{1A5ABF02-3DC0-3F46-89A6-D4A83DB904D1}" presName="rootConnector" presStyleLbl="node3" presStyleIdx="6" presStyleCnt="18"/>
      <dgm:spPr/>
      <dgm:t>
        <a:bodyPr/>
        <a:lstStyle/>
        <a:p>
          <a:endParaRPr lang="en-US"/>
        </a:p>
      </dgm:t>
    </dgm:pt>
    <dgm:pt modelId="{C07159A7-2612-CB43-B1EE-FC2609E7E9AD}" type="pres">
      <dgm:prSet presAssocID="{1A5ABF02-3DC0-3F46-89A6-D4A83DB904D1}" presName="hierChild4" presStyleCnt="0"/>
      <dgm:spPr/>
    </dgm:pt>
    <dgm:pt modelId="{B9C12C8A-E3B4-7940-B9D7-DB49D619BCB5}" type="pres">
      <dgm:prSet presAssocID="{1A5ABF02-3DC0-3F46-89A6-D4A83DB904D1}" presName="hierChild5" presStyleCnt="0"/>
      <dgm:spPr/>
    </dgm:pt>
    <dgm:pt modelId="{129F0079-A483-7E48-A321-97C36DBA0475}" type="pres">
      <dgm:prSet presAssocID="{76C0524B-EDDB-FA4A-A6A1-2FDCA1EEFA25}" presName="Name37" presStyleLbl="parChTrans1D3" presStyleIdx="7" presStyleCnt="18" custSzY="3936388"/>
      <dgm:spPr/>
      <dgm:t>
        <a:bodyPr/>
        <a:lstStyle/>
        <a:p>
          <a:endParaRPr lang="en-US"/>
        </a:p>
      </dgm:t>
    </dgm:pt>
    <dgm:pt modelId="{505AFEB6-44FD-0948-86B1-1EBBFB7AD6E8}" type="pres">
      <dgm:prSet presAssocID="{11B5AD18-48FD-6A4B-A82C-B8D0882BDFD5}" presName="hierRoot2" presStyleCnt="0">
        <dgm:presLayoutVars>
          <dgm:hierBranch val="init"/>
        </dgm:presLayoutVars>
      </dgm:prSet>
      <dgm:spPr/>
    </dgm:pt>
    <dgm:pt modelId="{898B3C27-79E5-B94F-AB28-34998FE8B917}" type="pres">
      <dgm:prSet presAssocID="{11B5AD18-48FD-6A4B-A82C-B8D0882BDFD5}" presName="rootComposite" presStyleCnt="0"/>
      <dgm:spPr/>
    </dgm:pt>
    <dgm:pt modelId="{7C50BECD-9391-C544-9079-7DCA06B1B106}" type="pres">
      <dgm:prSet presAssocID="{11B5AD18-48FD-6A4B-A82C-B8D0882BDFD5}" presName="rootText" presStyleLbl="node3" presStyleIdx="7" presStyleCnt="18" custScaleY="163289">
        <dgm:presLayoutVars>
          <dgm:chPref val="3"/>
        </dgm:presLayoutVars>
      </dgm:prSet>
      <dgm:spPr>
        <a:prstGeom prst="roundRect">
          <a:avLst/>
        </a:prstGeom>
      </dgm:spPr>
      <dgm:t>
        <a:bodyPr/>
        <a:lstStyle/>
        <a:p>
          <a:endParaRPr lang="en-US"/>
        </a:p>
      </dgm:t>
    </dgm:pt>
    <dgm:pt modelId="{35D57237-8BFB-E945-A7A7-3C3A20E1DD9C}" type="pres">
      <dgm:prSet presAssocID="{11B5AD18-48FD-6A4B-A82C-B8D0882BDFD5}" presName="rootConnector" presStyleLbl="node3" presStyleIdx="7" presStyleCnt="18"/>
      <dgm:spPr/>
      <dgm:t>
        <a:bodyPr/>
        <a:lstStyle/>
        <a:p>
          <a:endParaRPr lang="en-US"/>
        </a:p>
      </dgm:t>
    </dgm:pt>
    <dgm:pt modelId="{9742A4E0-8FBD-7543-97A8-E98A936FD000}" type="pres">
      <dgm:prSet presAssocID="{11B5AD18-48FD-6A4B-A82C-B8D0882BDFD5}" presName="hierChild4" presStyleCnt="0"/>
      <dgm:spPr/>
    </dgm:pt>
    <dgm:pt modelId="{7BE38307-1708-2D4C-8A04-E67A64FA40B2}" type="pres">
      <dgm:prSet presAssocID="{11B5AD18-48FD-6A4B-A82C-B8D0882BDFD5}" presName="hierChild5" presStyleCnt="0"/>
      <dgm:spPr/>
    </dgm:pt>
    <dgm:pt modelId="{5030E2EE-B0D1-364F-B6DF-876E246B6AE1}" type="pres">
      <dgm:prSet presAssocID="{EFC072AF-A0F9-2340-A2B6-3F5834C6C0F3}" presName="Name37" presStyleLbl="parChTrans1D3" presStyleIdx="8" presStyleCnt="18" custSzY="6370837"/>
      <dgm:spPr/>
      <dgm:t>
        <a:bodyPr/>
        <a:lstStyle/>
        <a:p>
          <a:endParaRPr lang="en-US"/>
        </a:p>
      </dgm:t>
    </dgm:pt>
    <dgm:pt modelId="{3BF92A3B-B68B-8F4A-ACDB-61F48235A59F}" type="pres">
      <dgm:prSet presAssocID="{1DF3C01B-2614-5C42-80DD-7422BFA9073B}" presName="hierRoot2" presStyleCnt="0">
        <dgm:presLayoutVars>
          <dgm:hierBranch val="init"/>
        </dgm:presLayoutVars>
      </dgm:prSet>
      <dgm:spPr/>
    </dgm:pt>
    <dgm:pt modelId="{B998F742-4147-FB46-B213-304B069DACB0}" type="pres">
      <dgm:prSet presAssocID="{1DF3C01B-2614-5C42-80DD-7422BFA9073B}" presName="rootComposite" presStyleCnt="0"/>
      <dgm:spPr/>
    </dgm:pt>
    <dgm:pt modelId="{C8DB6E88-65AB-3947-BF5E-D30F973C203C}" type="pres">
      <dgm:prSet presAssocID="{1DF3C01B-2614-5C42-80DD-7422BFA9073B}" presName="rootText" presStyleLbl="node3" presStyleIdx="8" presStyleCnt="18" custScaleY="163289">
        <dgm:presLayoutVars>
          <dgm:chPref val="3"/>
        </dgm:presLayoutVars>
      </dgm:prSet>
      <dgm:spPr>
        <a:prstGeom prst="roundRect">
          <a:avLst/>
        </a:prstGeom>
      </dgm:spPr>
      <dgm:t>
        <a:bodyPr/>
        <a:lstStyle/>
        <a:p>
          <a:endParaRPr lang="en-US"/>
        </a:p>
      </dgm:t>
    </dgm:pt>
    <dgm:pt modelId="{62108426-B799-194D-AB78-22283909E5A2}" type="pres">
      <dgm:prSet presAssocID="{1DF3C01B-2614-5C42-80DD-7422BFA9073B}" presName="rootConnector" presStyleLbl="node3" presStyleIdx="8" presStyleCnt="18"/>
      <dgm:spPr/>
      <dgm:t>
        <a:bodyPr/>
        <a:lstStyle/>
        <a:p>
          <a:endParaRPr lang="en-US"/>
        </a:p>
      </dgm:t>
    </dgm:pt>
    <dgm:pt modelId="{60AB16CA-A0FA-E548-A598-8F4F677A192B}" type="pres">
      <dgm:prSet presAssocID="{1DF3C01B-2614-5C42-80DD-7422BFA9073B}" presName="hierChild4" presStyleCnt="0"/>
      <dgm:spPr/>
    </dgm:pt>
    <dgm:pt modelId="{360B2E77-F622-5945-8392-2B887285C669}" type="pres">
      <dgm:prSet presAssocID="{1DF3C01B-2614-5C42-80DD-7422BFA9073B}" presName="hierChild5" presStyleCnt="0"/>
      <dgm:spPr/>
    </dgm:pt>
    <dgm:pt modelId="{0E88A329-C564-C840-B127-2181CD7549E6}" type="pres">
      <dgm:prSet presAssocID="{5B4F3E0D-971E-3647-86E4-6868F203DC2B}" presName="hierChild5" presStyleCnt="0"/>
      <dgm:spPr/>
    </dgm:pt>
    <dgm:pt modelId="{323D0151-0AF0-7A44-BCE6-C10462839127}" type="pres">
      <dgm:prSet presAssocID="{4BB222BF-BE28-4C47-9A72-39286C322445}" presName="Name37" presStyleLbl="parChTrans1D2" presStyleIdx="3" presStyleCnt="6" custSzY="569430"/>
      <dgm:spPr/>
      <dgm:t>
        <a:bodyPr/>
        <a:lstStyle/>
        <a:p>
          <a:endParaRPr lang="en-US"/>
        </a:p>
      </dgm:t>
    </dgm:pt>
    <dgm:pt modelId="{C0502B14-1B52-7042-ACC0-DA1514170E49}" type="pres">
      <dgm:prSet presAssocID="{49CB4C51-4B03-F94A-A9CC-2536C8F9270F}" presName="hierRoot2" presStyleCnt="0">
        <dgm:presLayoutVars>
          <dgm:hierBranch val="init"/>
        </dgm:presLayoutVars>
      </dgm:prSet>
      <dgm:spPr/>
    </dgm:pt>
    <dgm:pt modelId="{124E14D1-547A-F840-A53B-8C32D7C0E093}" type="pres">
      <dgm:prSet presAssocID="{49CB4C51-4B03-F94A-A9CC-2536C8F9270F}" presName="rootComposite" presStyleCnt="0"/>
      <dgm:spPr/>
    </dgm:pt>
    <dgm:pt modelId="{F63DB975-E825-ED40-9ED5-8EF8047133DC}" type="pres">
      <dgm:prSet presAssocID="{49CB4C51-4B03-F94A-A9CC-2536C8F9270F}" presName="rootText" presStyleLbl="node2" presStyleIdx="3" presStyleCnt="6" custScaleX="122545" custScaleY="163289">
        <dgm:presLayoutVars>
          <dgm:chPref val="3"/>
        </dgm:presLayoutVars>
      </dgm:prSet>
      <dgm:spPr>
        <a:prstGeom prst="roundRect">
          <a:avLst/>
        </a:prstGeom>
      </dgm:spPr>
      <dgm:t>
        <a:bodyPr/>
        <a:lstStyle/>
        <a:p>
          <a:endParaRPr lang="en-US"/>
        </a:p>
      </dgm:t>
    </dgm:pt>
    <dgm:pt modelId="{448BE257-6BD3-154B-8455-7442213A9C1F}" type="pres">
      <dgm:prSet presAssocID="{49CB4C51-4B03-F94A-A9CC-2536C8F9270F}" presName="rootConnector" presStyleLbl="node2" presStyleIdx="3" presStyleCnt="6"/>
      <dgm:spPr/>
      <dgm:t>
        <a:bodyPr/>
        <a:lstStyle/>
        <a:p>
          <a:endParaRPr lang="en-US"/>
        </a:p>
      </dgm:t>
    </dgm:pt>
    <dgm:pt modelId="{068F8C37-46EE-4847-A292-C25509F10E4F}" type="pres">
      <dgm:prSet presAssocID="{49CB4C51-4B03-F94A-A9CC-2536C8F9270F}" presName="hierChild4" presStyleCnt="0"/>
      <dgm:spPr/>
    </dgm:pt>
    <dgm:pt modelId="{7B5B0F12-5DDA-9943-9092-2A10F2FE9601}" type="pres">
      <dgm:prSet presAssocID="{964A5E62-97E7-C048-9268-0DD949F4134F}" presName="Name37" presStyleLbl="parChTrans1D3" presStyleIdx="9" presStyleCnt="18" custSzY="1501939"/>
      <dgm:spPr/>
      <dgm:t>
        <a:bodyPr/>
        <a:lstStyle/>
        <a:p>
          <a:endParaRPr lang="en-US"/>
        </a:p>
      </dgm:t>
    </dgm:pt>
    <dgm:pt modelId="{416A776B-95CC-6242-82B8-F3477537D01B}" type="pres">
      <dgm:prSet presAssocID="{14A9B10A-492B-F046-AA45-A18CECB57509}" presName="hierRoot2" presStyleCnt="0">
        <dgm:presLayoutVars>
          <dgm:hierBranch val="init"/>
        </dgm:presLayoutVars>
      </dgm:prSet>
      <dgm:spPr/>
    </dgm:pt>
    <dgm:pt modelId="{B3872BE2-32B6-FA4E-AD30-FDDA357E030B}" type="pres">
      <dgm:prSet presAssocID="{14A9B10A-492B-F046-AA45-A18CECB57509}" presName="rootComposite" presStyleCnt="0"/>
      <dgm:spPr/>
    </dgm:pt>
    <dgm:pt modelId="{BD45870A-B3FE-4649-A1E8-44ABA898ACEB}" type="pres">
      <dgm:prSet presAssocID="{14A9B10A-492B-F046-AA45-A18CECB57509}" presName="rootText" presStyleLbl="node3" presStyleIdx="9" presStyleCnt="18" custScaleY="163289">
        <dgm:presLayoutVars>
          <dgm:chPref val="3"/>
        </dgm:presLayoutVars>
      </dgm:prSet>
      <dgm:spPr>
        <a:prstGeom prst="roundRect">
          <a:avLst/>
        </a:prstGeom>
      </dgm:spPr>
      <dgm:t>
        <a:bodyPr/>
        <a:lstStyle/>
        <a:p>
          <a:endParaRPr lang="en-US"/>
        </a:p>
      </dgm:t>
    </dgm:pt>
    <dgm:pt modelId="{6D27B739-9A5A-FE45-BC1E-B91110B18E69}" type="pres">
      <dgm:prSet presAssocID="{14A9B10A-492B-F046-AA45-A18CECB57509}" presName="rootConnector" presStyleLbl="node3" presStyleIdx="9" presStyleCnt="18"/>
      <dgm:spPr/>
      <dgm:t>
        <a:bodyPr/>
        <a:lstStyle/>
        <a:p>
          <a:endParaRPr lang="en-US"/>
        </a:p>
      </dgm:t>
    </dgm:pt>
    <dgm:pt modelId="{E0AA5810-09FE-6F49-9E01-C37893D5B99E}" type="pres">
      <dgm:prSet presAssocID="{14A9B10A-492B-F046-AA45-A18CECB57509}" presName="hierChild4" presStyleCnt="0"/>
      <dgm:spPr/>
    </dgm:pt>
    <dgm:pt modelId="{67B38412-62E0-F041-A9A6-EEB827EE7287}" type="pres">
      <dgm:prSet presAssocID="{14A9B10A-492B-F046-AA45-A18CECB57509}" presName="hierChild5" presStyleCnt="0"/>
      <dgm:spPr/>
    </dgm:pt>
    <dgm:pt modelId="{4C9BEE53-E580-D245-BCCD-590C85D76065}" type="pres">
      <dgm:prSet presAssocID="{7D0C8FC0-2822-5146-86DC-E862D57D28F7}" presName="Name37" presStyleLbl="parChTrans1D3" presStyleIdx="10" presStyleCnt="18" custSzY="3936388"/>
      <dgm:spPr/>
      <dgm:t>
        <a:bodyPr/>
        <a:lstStyle/>
        <a:p>
          <a:endParaRPr lang="en-US"/>
        </a:p>
      </dgm:t>
    </dgm:pt>
    <dgm:pt modelId="{084F8B06-8855-B74B-A705-6E163C44E754}" type="pres">
      <dgm:prSet presAssocID="{D388754C-8CDF-944F-81D9-734A1D624DE5}" presName="hierRoot2" presStyleCnt="0">
        <dgm:presLayoutVars>
          <dgm:hierBranch val="init"/>
        </dgm:presLayoutVars>
      </dgm:prSet>
      <dgm:spPr/>
    </dgm:pt>
    <dgm:pt modelId="{9EA94B24-EF62-6646-8B44-17764E9A462E}" type="pres">
      <dgm:prSet presAssocID="{D388754C-8CDF-944F-81D9-734A1D624DE5}" presName="rootComposite" presStyleCnt="0"/>
      <dgm:spPr/>
    </dgm:pt>
    <dgm:pt modelId="{667C8B84-66F0-D04D-AF88-0F329C747158}" type="pres">
      <dgm:prSet presAssocID="{D388754C-8CDF-944F-81D9-734A1D624DE5}" presName="rootText" presStyleLbl="node3" presStyleIdx="10" presStyleCnt="18" custScaleY="163289">
        <dgm:presLayoutVars>
          <dgm:chPref val="3"/>
        </dgm:presLayoutVars>
      </dgm:prSet>
      <dgm:spPr>
        <a:prstGeom prst="roundRect">
          <a:avLst/>
        </a:prstGeom>
      </dgm:spPr>
      <dgm:t>
        <a:bodyPr/>
        <a:lstStyle/>
        <a:p>
          <a:endParaRPr lang="en-US"/>
        </a:p>
      </dgm:t>
    </dgm:pt>
    <dgm:pt modelId="{C032D471-E31D-BF47-90BC-0B75D3183438}" type="pres">
      <dgm:prSet presAssocID="{D388754C-8CDF-944F-81D9-734A1D624DE5}" presName="rootConnector" presStyleLbl="node3" presStyleIdx="10" presStyleCnt="18"/>
      <dgm:spPr/>
      <dgm:t>
        <a:bodyPr/>
        <a:lstStyle/>
        <a:p>
          <a:endParaRPr lang="en-US"/>
        </a:p>
      </dgm:t>
    </dgm:pt>
    <dgm:pt modelId="{50D7A7D7-B247-0241-B930-203B902594B5}" type="pres">
      <dgm:prSet presAssocID="{D388754C-8CDF-944F-81D9-734A1D624DE5}" presName="hierChild4" presStyleCnt="0"/>
      <dgm:spPr/>
    </dgm:pt>
    <dgm:pt modelId="{6067EBE2-5843-6D4C-941B-5FB3692E75F9}" type="pres">
      <dgm:prSet presAssocID="{D388754C-8CDF-944F-81D9-734A1D624DE5}" presName="hierChild5" presStyleCnt="0"/>
      <dgm:spPr/>
    </dgm:pt>
    <dgm:pt modelId="{EBF62F60-4DCC-6C46-AE65-EDFFE870F1F4}" type="pres">
      <dgm:prSet presAssocID="{BEEC9641-8114-8F4D-8D80-33DB53450849}" presName="Name37" presStyleLbl="parChTrans1D3" presStyleIdx="11" presStyleCnt="18" custSzY="6370837"/>
      <dgm:spPr/>
      <dgm:t>
        <a:bodyPr/>
        <a:lstStyle/>
        <a:p>
          <a:endParaRPr lang="en-US"/>
        </a:p>
      </dgm:t>
    </dgm:pt>
    <dgm:pt modelId="{93533B26-364F-014E-A891-6D8442BBCE18}" type="pres">
      <dgm:prSet presAssocID="{5959550F-67B9-B04E-91C4-902A91EFE7E5}" presName="hierRoot2" presStyleCnt="0">
        <dgm:presLayoutVars>
          <dgm:hierBranch val="init"/>
        </dgm:presLayoutVars>
      </dgm:prSet>
      <dgm:spPr/>
    </dgm:pt>
    <dgm:pt modelId="{DB4AF111-B912-8448-ABAC-05FC566DF87E}" type="pres">
      <dgm:prSet presAssocID="{5959550F-67B9-B04E-91C4-902A91EFE7E5}" presName="rootComposite" presStyleCnt="0"/>
      <dgm:spPr/>
    </dgm:pt>
    <dgm:pt modelId="{0B86221D-B7E4-B74C-ACB9-8C43A9AE47F7}" type="pres">
      <dgm:prSet presAssocID="{5959550F-67B9-B04E-91C4-902A91EFE7E5}" presName="rootText" presStyleLbl="node3" presStyleIdx="11" presStyleCnt="18" custScaleY="163289">
        <dgm:presLayoutVars>
          <dgm:chPref val="3"/>
        </dgm:presLayoutVars>
      </dgm:prSet>
      <dgm:spPr>
        <a:prstGeom prst="roundRect">
          <a:avLst/>
        </a:prstGeom>
      </dgm:spPr>
      <dgm:t>
        <a:bodyPr/>
        <a:lstStyle/>
        <a:p>
          <a:endParaRPr lang="en-US"/>
        </a:p>
      </dgm:t>
    </dgm:pt>
    <dgm:pt modelId="{B9CC71A5-3834-534E-9ECE-601DD70734B2}" type="pres">
      <dgm:prSet presAssocID="{5959550F-67B9-B04E-91C4-902A91EFE7E5}" presName="rootConnector" presStyleLbl="node3" presStyleIdx="11" presStyleCnt="18"/>
      <dgm:spPr/>
      <dgm:t>
        <a:bodyPr/>
        <a:lstStyle/>
        <a:p>
          <a:endParaRPr lang="en-US"/>
        </a:p>
      </dgm:t>
    </dgm:pt>
    <dgm:pt modelId="{22A0A11E-34BD-0442-BCA0-44161B492947}" type="pres">
      <dgm:prSet presAssocID="{5959550F-67B9-B04E-91C4-902A91EFE7E5}" presName="hierChild4" presStyleCnt="0"/>
      <dgm:spPr/>
    </dgm:pt>
    <dgm:pt modelId="{A1799FD4-5B2F-1C41-B7C0-8BBFCD6F98DD}" type="pres">
      <dgm:prSet presAssocID="{5959550F-67B9-B04E-91C4-902A91EFE7E5}" presName="hierChild5" presStyleCnt="0"/>
      <dgm:spPr/>
    </dgm:pt>
    <dgm:pt modelId="{9E34D8F1-0307-C841-BE9B-4EB460341C22}" type="pres">
      <dgm:prSet presAssocID="{49CB4C51-4B03-F94A-A9CC-2536C8F9270F}" presName="hierChild5" presStyleCnt="0"/>
      <dgm:spPr/>
    </dgm:pt>
    <dgm:pt modelId="{1480E8B4-F1B6-8246-9806-7D2D0CB68815}" type="pres">
      <dgm:prSet presAssocID="{F409B74A-4849-4F40-B00A-E62D8179565D}" presName="Name37" presStyleLbl="parChTrans1D2" presStyleIdx="4" presStyleCnt="6" custSzY="569430"/>
      <dgm:spPr/>
      <dgm:t>
        <a:bodyPr/>
        <a:lstStyle/>
        <a:p>
          <a:endParaRPr lang="en-US"/>
        </a:p>
      </dgm:t>
    </dgm:pt>
    <dgm:pt modelId="{38784AEE-09B7-0C47-8227-D02D0F1EDC40}" type="pres">
      <dgm:prSet presAssocID="{67FD2AD4-7083-B34B-8AB9-E13081EF86F9}" presName="hierRoot2" presStyleCnt="0">
        <dgm:presLayoutVars>
          <dgm:hierBranch val="init"/>
        </dgm:presLayoutVars>
      </dgm:prSet>
      <dgm:spPr/>
    </dgm:pt>
    <dgm:pt modelId="{1B5211C4-1365-1640-A178-1D467A02D08A}" type="pres">
      <dgm:prSet presAssocID="{67FD2AD4-7083-B34B-8AB9-E13081EF86F9}" presName="rootComposite" presStyleCnt="0"/>
      <dgm:spPr/>
    </dgm:pt>
    <dgm:pt modelId="{572E3CDC-5D66-514E-8912-D04551846EC7}" type="pres">
      <dgm:prSet presAssocID="{67FD2AD4-7083-B34B-8AB9-E13081EF86F9}" presName="rootText" presStyleLbl="node2" presStyleIdx="4" presStyleCnt="6" custScaleX="122545" custScaleY="163289">
        <dgm:presLayoutVars>
          <dgm:chPref val="3"/>
        </dgm:presLayoutVars>
      </dgm:prSet>
      <dgm:spPr>
        <a:prstGeom prst="roundRect">
          <a:avLst/>
        </a:prstGeom>
      </dgm:spPr>
      <dgm:t>
        <a:bodyPr/>
        <a:lstStyle/>
        <a:p>
          <a:endParaRPr lang="en-US"/>
        </a:p>
      </dgm:t>
    </dgm:pt>
    <dgm:pt modelId="{64829248-69CA-0B4E-875C-600221CC892E}" type="pres">
      <dgm:prSet presAssocID="{67FD2AD4-7083-B34B-8AB9-E13081EF86F9}" presName="rootConnector" presStyleLbl="node2" presStyleIdx="4" presStyleCnt="6"/>
      <dgm:spPr/>
      <dgm:t>
        <a:bodyPr/>
        <a:lstStyle/>
        <a:p>
          <a:endParaRPr lang="en-US"/>
        </a:p>
      </dgm:t>
    </dgm:pt>
    <dgm:pt modelId="{EB7C6A82-1BAB-C84F-ABFF-4175D1E01329}" type="pres">
      <dgm:prSet presAssocID="{67FD2AD4-7083-B34B-8AB9-E13081EF86F9}" presName="hierChild4" presStyleCnt="0"/>
      <dgm:spPr/>
    </dgm:pt>
    <dgm:pt modelId="{44F6E45F-C07E-304C-AB67-8E8552A42778}" type="pres">
      <dgm:prSet presAssocID="{D5307D3E-A636-324D-8C3A-9829230BB487}" presName="Name37" presStyleLbl="parChTrans1D3" presStyleIdx="12" presStyleCnt="18" custSzY="1501939"/>
      <dgm:spPr/>
      <dgm:t>
        <a:bodyPr/>
        <a:lstStyle/>
        <a:p>
          <a:endParaRPr lang="en-US"/>
        </a:p>
      </dgm:t>
    </dgm:pt>
    <dgm:pt modelId="{2208A308-1D10-494E-B09E-F544AF8068C3}" type="pres">
      <dgm:prSet presAssocID="{480C2FAB-0A28-DC43-92DE-A584FB0DAE31}" presName="hierRoot2" presStyleCnt="0">
        <dgm:presLayoutVars>
          <dgm:hierBranch val="init"/>
        </dgm:presLayoutVars>
      </dgm:prSet>
      <dgm:spPr/>
    </dgm:pt>
    <dgm:pt modelId="{52F1A2B4-5B26-7844-A417-F9A302DD4377}" type="pres">
      <dgm:prSet presAssocID="{480C2FAB-0A28-DC43-92DE-A584FB0DAE31}" presName="rootComposite" presStyleCnt="0"/>
      <dgm:spPr/>
    </dgm:pt>
    <dgm:pt modelId="{312925C6-1321-8C4D-8ECE-565EBD85AA53}" type="pres">
      <dgm:prSet presAssocID="{480C2FAB-0A28-DC43-92DE-A584FB0DAE31}" presName="rootText" presStyleLbl="node3" presStyleIdx="12" presStyleCnt="18" custScaleY="163289">
        <dgm:presLayoutVars>
          <dgm:chPref val="3"/>
        </dgm:presLayoutVars>
      </dgm:prSet>
      <dgm:spPr>
        <a:prstGeom prst="roundRect">
          <a:avLst/>
        </a:prstGeom>
      </dgm:spPr>
      <dgm:t>
        <a:bodyPr/>
        <a:lstStyle/>
        <a:p>
          <a:endParaRPr lang="en-US"/>
        </a:p>
      </dgm:t>
    </dgm:pt>
    <dgm:pt modelId="{51242648-056D-864F-A823-CF2B10E36DC5}" type="pres">
      <dgm:prSet presAssocID="{480C2FAB-0A28-DC43-92DE-A584FB0DAE31}" presName="rootConnector" presStyleLbl="node3" presStyleIdx="12" presStyleCnt="18"/>
      <dgm:spPr/>
      <dgm:t>
        <a:bodyPr/>
        <a:lstStyle/>
        <a:p>
          <a:endParaRPr lang="en-US"/>
        </a:p>
      </dgm:t>
    </dgm:pt>
    <dgm:pt modelId="{101F8E47-0BE7-944C-B421-13AA797AD0FE}" type="pres">
      <dgm:prSet presAssocID="{480C2FAB-0A28-DC43-92DE-A584FB0DAE31}" presName="hierChild4" presStyleCnt="0"/>
      <dgm:spPr/>
    </dgm:pt>
    <dgm:pt modelId="{63EE6A4D-0BB5-9F46-BC36-0F3CE16A1208}" type="pres">
      <dgm:prSet presAssocID="{480C2FAB-0A28-DC43-92DE-A584FB0DAE31}" presName="hierChild5" presStyleCnt="0"/>
      <dgm:spPr/>
    </dgm:pt>
    <dgm:pt modelId="{6440B106-7C72-9547-AE5A-A590A6A7292B}" type="pres">
      <dgm:prSet presAssocID="{411D2A1A-9B4A-674A-B93D-2C923CBCDFDB}" presName="Name37" presStyleLbl="parChTrans1D3" presStyleIdx="13" presStyleCnt="18" custSzY="3936388"/>
      <dgm:spPr/>
      <dgm:t>
        <a:bodyPr/>
        <a:lstStyle/>
        <a:p>
          <a:endParaRPr lang="en-US"/>
        </a:p>
      </dgm:t>
    </dgm:pt>
    <dgm:pt modelId="{BAC73BF8-8458-2342-9ECA-03ADDC1723E5}" type="pres">
      <dgm:prSet presAssocID="{73C75B63-3273-2346-8A61-65D3F5E8CBC0}" presName="hierRoot2" presStyleCnt="0">
        <dgm:presLayoutVars>
          <dgm:hierBranch val="init"/>
        </dgm:presLayoutVars>
      </dgm:prSet>
      <dgm:spPr/>
    </dgm:pt>
    <dgm:pt modelId="{0C073428-45A6-A444-B614-5DE374C411EB}" type="pres">
      <dgm:prSet presAssocID="{73C75B63-3273-2346-8A61-65D3F5E8CBC0}" presName="rootComposite" presStyleCnt="0"/>
      <dgm:spPr/>
    </dgm:pt>
    <dgm:pt modelId="{96DE10DD-2A27-1E4E-A6B9-8640BCC5A191}" type="pres">
      <dgm:prSet presAssocID="{73C75B63-3273-2346-8A61-65D3F5E8CBC0}" presName="rootText" presStyleLbl="node3" presStyleIdx="13" presStyleCnt="18" custScaleY="163289">
        <dgm:presLayoutVars>
          <dgm:chPref val="3"/>
        </dgm:presLayoutVars>
      </dgm:prSet>
      <dgm:spPr>
        <a:prstGeom prst="roundRect">
          <a:avLst/>
        </a:prstGeom>
      </dgm:spPr>
      <dgm:t>
        <a:bodyPr/>
        <a:lstStyle/>
        <a:p>
          <a:endParaRPr lang="en-US"/>
        </a:p>
      </dgm:t>
    </dgm:pt>
    <dgm:pt modelId="{8F158EFB-F898-3C42-9661-FD99398859DA}" type="pres">
      <dgm:prSet presAssocID="{73C75B63-3273-2346-8A61-65D3F5E8CBC0}" presName="rootConnector" presStyleLbl="node3" presStyleIdx="13" presStyleCnt="18"/>
      <dgm:spPr/>
      <dgm:t>
        <a:bodyPr/>
        <a:lstStyle/>
        <a:p>
          <a:endParaRPr lang="en-US"/>
        </a:p>
      </dgm:t>
    </dgm:pt>
    <dgm:pt modelId="{115DEFFC-01B6-BC42-A789-F0A80147F2CC}" type="pres">
      <dgm:prSet presAssocID="{73C75B63-3273-2346-8A61-65D3F5E8CBC0}" presName="hierChild4" presStyleCnt="0"/>
      <dgm:spPr/>
    </dgm:pt>
    <dgm:pt modelId="{B17F80B3-A6DC-D645-A595-41D80D4CE969}" type="pres">
      <dgm:prSet presAssocID="{73C75B63-3273-2346-8A61-65D3F5E8CBC0}" presName="hierChild5" presStyleCnt="0"/>
      <dgm:spPr/>
    </dgm:pt>
    <dgm:pt modelId="{65969C0C-C4EF-8044-B112-A2052B5FA261}" type="pres">
      <dgm:prSet presAssocID="{3096FC50-CDEA-CD40-A16C-4FE101488966}" presName="Name37" presStyleLbl="parChTrans1D3" presStyleIdx="14" presStyleCnt="18" custSzY="6370837"/>
      <dgm:spPr/>
      <dgm:t>
        <a:bodyPr/>
        <a:lstStyle/>
        <a:p>
          <a:endParaRPr lang="en-US"/>
        </a:p>
      </dgm:t>
    </dgm:pt>
    <dgm:pt modelId="{15CB5C64-C278-794E-82CF-052985D0BE92}" type="pres">
      <dgm:prSet presAssocID="{A53C0CFE-184A-1146-8FA6-FFD39694D4B0}" presName="hierRoot2" presStyleCnt="0">
        <dgm:presLayoutVars>
          <dgm:hierBranch val="init"/>
        </dgm:presLayoutVars>
      </dgm:prSet>
      <dgm:spPr/>
    </dgm:pt>
    <dgm:pt modelId="{BA365489-556A-C940-A00F-72AECC305955}" type="pres">
      <dgm:prSet presAssocID="{A53C0CFE-184A-1146-8FA6-FFD39694D4B0}" presName="rootComposite" presStyleCnt="0"/>
      <dgm:spPr/>
    </dgm:pt>
    <dgm:pt modelId="{210923D2-AC03-0946-B698-462DDD0B6542}" type="pres">
      <dgm:prSet presAssocID="{A53C0CFE-184A-1146-8FA6-FFD39694D4B0}" presName="rootText" presStyleLbl="node3" presStyleIdx="14" presStyleCnt="18" custScaleY="163289">
        <dgm:presLayoutVars>
          <dgm:chPref val="3"/>
        </dgm:presLayoutVars>
      </dgm:prSet>
      <dgm:spPr>
        <a:prstGeom prst="roundRect">
          <a:avLst/>
        </a:prstGeom>
      </dgm:spPr>
      <dgm:t>
        <a:bodyPr/>
        <a:lstStyle/>
        <a:p>
          <a:endParaRPr lang="en-US"/>
        </a:p>
      </dgm:t>
    </dgm:pt>
    <dgm:pt modelId="{2CA7FC21-BB86-E144-A530-0AA3F7C11ADE}" type="pres">
      <dgm:prSet presAssocID="{A53C0CFE-184A-1146-8FA6-FFD39694D4B0}" presName="rootConnector" presStyleLbl="node3" presStyleIdx="14" presStyleCnt="18"/>
      <dgm:spPr/>
      <dgm:t>
        <a:bodyPr/>
        <a:lstStyle/>
        <a:p>
          <a:endParaRPr lang="en-US"/>
        </a:p>
      </dgm:t>
    </dgm:pt>
    <dgm:pt modelId="{AB10E984-B840-EA4C-B0FD-663FD1FBE1EE}" type="pres">
      <dgm:prSet presAssocID="{A53C0CFE-184A-1146-8FA6-FFD39694D4B0}" presName="hierChild4" presStyleCnt="0"/>
      <dgm:spPr/>
    </dgm:pt>
    <dgm:pt modelId="{A0B7D572-0CBF-904A-8189-72905D552A09}" type="pres">
      <dgm:prSet presAssocID="{A53C0CFE-184A-1146-8FA6-FFD39694D4B0}" presName="hierChild5" presStyleCnt="0"/>
      <dgm:spPr/>
    </dgm:pt>
    <dgm:pt modelId="{0D4ABEBA-7F67-174B-9D14-25EB0F873638}" type="pres">
      <dgm:prSet presAssocID="{67FD2AD4-7083-B34B-8AB9-E13081EF86F9}" presName="hierChild5" presStyleCnt="0"/>
      <dgm:spPr/>
    </dgm:pt>
    <dgm:pt modelId="{FD0BC2B8-08A5-504D-8B97-A8DFE6F2353D}" type="pres">
      <dgm:prSet presAssocID="{E110FCDD-5DD2-7A49-B84B-225145A8853A}" presName="Name37" presStyleLbl="parChTrans1D2" presStyleIdx="5" presStyleCnt="6" custSzY="569430"/>
      <dgm:spPr/>
      <dgm:t>
        <a:bodyPr/>
        <a:lstStyle/>
        <a:p>
          <a:endParaRPr lang="en-US"/>
        </a:p>
      </dgm:t>
    </dgm:pt>
    <dgm:pt modelId="{4D65A84D-8A4B-FF46-8FC4-DF9823B8C901}" type="pres">
      <dgm:prSet presAssocID="{D069104F-4C0B-3147-953F-A5D93E0C8F12}" presName="hierRoot2" presStyleCnt="0">
        <dgm:presLayoutVars>
          <dgm:hierBranch val="init"/>
        </dgm:presLayoutVars>
      </dgm:prSet>
      <dgm:spPr/>
    </dgm:pt>
    <dgm:pt modelId="{03C01BD0-EEC3-1044-9FF9-FA46EBEE4A5A}" type="pres">
      <dgm:prSet presAssocID="{D069104F-4C0B-3147-953F-A5D93E0C8F12}" presName="rootComposite" presStyleCnt="0"/>
      <dgm:spPr/>
    </dgm:pt>
    <dgm:pt modelId="{0FE69002-AB56-3740-A6BE-C29542137A47}" type="pres">
      <dgm:prSet presAssocID="{D069104F-4C0B-3147-953F-A5D93E0C8F12}" presName="rootText" presStyleLbl="node2" presStyleIdx="5" presStyleCnt="6" custScaleX="122545" custScaleY="163289">
        <dgm:presLayoutVars>
          <dgm:chPref val="3"/>
        </dgm:presLayoutVars>
      </dgm:prSet>
      <dgm:spPr>
        <a:prstGeom prst="roundRect">
          <a:avLst/>
        </a:prstGeom>
      </dgm:spPr>
      <dgm:t>
        <a:bodyPr/>
        <a:lstStyle/>
        <a:p>
          <a:endParaRPr lang="en-US"/>
        </a:p>
      </dgm:t>
    </dgm:pt>
    <dgm:pt modelId="{78596C7B-EEAE-2041-808D-BB85B551442B}" type="pres">
      <dgm:prSet presAssocID="{D069104F-4C0B-3147-953F-A5D93E0C8F12}" presName="rootConnector" presStyleLbl="node2" presStyleIdx="5" presStyleCnt="6"/>
      <dgm:spPr/>
      <dgm:t>
        <a:bodyPr/>
        <a:lstStyle/>
        <a:p>
          <a:endParaRPr lang="en-US"/>
        </a:p>
      </dgm:t>
    </dgm:pt>
    <dgm:pt modelId="{5D17771E-4B1E-524B-BB1A-B729F8A623F9}" type="pres">
      <dgm:prSet presAssocID="{D069104F-4C0B-3147-953F-A5D93E0C8F12}" presName="hierChild4" presStyleCnt="0"/>
      <dgm:spPr/>
    </dgm:pt>
    <dgm:pt modelId="{18EACF5C-66CA-3E4D-8C5C-FF5941FDB285}" type="pres">
      <dgm:prSet presAssocID="{2D781344-65A3-CC42-AE48-89E6ECA195E3}" presName="Name37" presStyleLbl="parChTrans1D3" presStyleIdx="15" presStyleCnt="18" custSzY="1501939"/>
      <dgm:spPr/>
      <dgm:t>
        <a:bodyPr/>
        <a:lstStyle/>
        <a:p>
          <a:endParaRPr lang="en-US"/>
        </a:p>
      </dgm:t>
    </dgm:pt>
    <dgm:pt modelId="{6C7DB993-CCDC-324F-8775-E1F06DD4FFD7}" type="pres">
      <dgm:prSet presAssocID="{C3ACB4D6-7889-774B-A5F7-FFA378C074CF}" presName="hierRoot2" presStyleCnt="0">
        <dgm:presLayoutVars>
          <dgm:hierBranch val="init"/>
        </dgm:presLayoutVars>
      </dgm:prSet>
      <dgm:spPr/>
    </dgm:pt>
    <dgm:pt modelId="{D4DA819A-9F1A-9344-ADAA-3A8DDECA6851}" type="pres">
      <dgm:prSet presAssocID="{C3ACB4D6-7889-774B-A5F7-FFA378C074CF}" presName="rootComposite" presStyleCnt="0"/>
      <dgm:spPr/>
    </dgm:pt>
    <dgm:pt modelId="{3F382FC2-12CB-D943-89ED-75CADBE6B2B9}" type="pres">
      <dgm:prSet presAssocID="{C3ACB4D6-7889-774B-A5F7-FFA378C074CF}" presName="rootText" presStyleLbl="node3" presStyleIdx="15" presStyleCnt="18" custScaleY="163289">
        <dgm:presLayoutVars>
          <dgm:chPref val="3"/>
        </dgm:presLayoutVars>
      </dgm:prSet>
      <dgm:spPr>
        <a:prstGeom prst="roundRect">
          <a:avLst/>
        </a:prstGeom>
      </dgm:spPr>
      <dgm:t>
        <a:bodyPr/>
        <a:lstStyle/>
        <a:p>
          <a:endParaRPr lang="en-US"/>
        </a:p>
      </dgm:t>
    </dgm:pt>
    <dgm:pt modelId="{A9018DA5-07A6-1047-8906-D5CEBD268137}" type="pres">
      <dgm:prSet presAssocID="{C3ACB4D6-7889-774B-A5F7-FFA378C074CF}" presName="rootConnector" presStyleLbl="node3" presStyleIdx="15" presStyleCnt="18"/>
      <dgm:spPr/>
      <dgm:t>
        <a:bodyPr/>
        <a:lstStyle/>
        <a:p>
          <a:endParaRPr lang="en-US"/>
        </a:p>
      </dgm:t>
    </dgm:pt>
    <dgm:pt modelId="{B5813A8B-06F6-9048-B681-BC00AA738FE4}" type="pres">
      <dgm:prSet presAssocID="{C3ACB4D6-7889-774B-A5F7-FFA378C074CF}" presName="hierChild4" presStyleCnt="0"/>
      <dgm:spPr/>
    </dgm:pt>
    <dgm:pt modelId="{95C46E87-2E48-C342-A249-297A911EA1BF}" type="pres">
      <dgm:prSet presAssocID="{C3ACB4D6-7889-774B-A5F7-FFA378C074CF}" presName="hierChild5" presStyleCnt="0"/>
      <dgm:spPr/>
    </dgm:pt>
    <dgm:pt modelId="{CE80B93D-D000-8B4B-8100-E0B67DB0E877}" type="pres">
      <dgm:prSet presAssocID="{9197C098-8C8E-D049-B974-F3A046C386B0}" presName="Name37" presStyleLbl="parChTrans1D3" presStyleIdx="16" presStyleCnt="18" custSzY="3936388"/>
      <dgm:spPr/>
      <dgm:t>
        <a:bodyPr/>
        <a:lstStyle/>
        <a:p>
          <a:endParaRPr lang="en-US"/>
        </a:p>
      </dgm:t>
    </dgm:pt>
    <dgm:pt modelId="{135F96AC-C0EB-DF47-A8C8-A7B4CD21E5E7}" type="pres">
      <dgm:prSet presAssocID="{02A61A4C-1F65-A841-A4A7-C10C1A746FA0}" presName="hierRoot2" presStyleCnt="0">
        <dgm:presLayoutVars>
          <dgm:hierBranch val="init"/>
        </dgm:presLayoutVars>
      </dgm:prSet>
      <dgm:spPr/>
    </dgm:pt>
    <dgm:pt modelId="{211E14D2-36F3-F344-B001-DAEE9207C99A}" type="pres">
      <dgm:prSet presAssocID="{02A61A4C-1F65-A841-A4A7-C10C1A746FA0}" presName="rootComposite" presStyleCnt="0"/>
      <dgm:spPr/>
    </dgm:pt>
    <dgm:pt modelId="{EA99EEAC-15F9-BB4A-A17F-8DF66EAF1CDC}" type="pres">
      <dgm:prSet presAssocID="{02A61A4C-1F65-A841-A4A7-C10C1A746FA0}" presName="rootText" presStyleLbl="node3" presStyleIdx="16" presStyleCnt="18" custScaleY="163289">
        <dgm:presLayoutVars>
          <dgm:chPref val="3"/>
        </dgm:presLayoutVars>
      </dgm:prSet>
      <dgm:spPr>
        <a:prstGeom prst="roundRect">
          <a:avLst/>
        </a:prstGeom>
      </dgm:spPr>
      <dgm:t>
        <a:bodyPr/>
        <a:lstStyle/>
        <a:p>
          <a:endParaRPr lang="en-US"/>
        </a:p>
      </dgm:t>
    </dgm:pt>
    <dgm:pt modelId="{AF27EFD7-AEE3-5142-9BFD-36D0D1B36002}" type="pres">
      <dgm:prSet presAssocID="{02A61A4C-1F65-A841-A4A7-C10C1A746FA0}" presName="rootConnector" presStyleLbl="node3" presStyleIdx="16" presStyleCnt="18"/>
      <dgm:spPr/>
      <dgm:t>
        <a:bodyPr/>
        <a:lstStyle/>
        <a:p>
          <a:endParaRPr lang="en-US"/>
        </a:p>
      </dgm:t>
    </dgm:pt>
    <dgm:pt modelId="{9C8E7226-45B7-4C4E-9BE3-277B0CB35A46}" type="pres">
      <dgm:prSet presAssocID="{02A61A4C-1F65-A841-A4A7-C10C1A746FA0}" presName="hierChild4" presStyleCnt="0"/>
      <dgm:spPr/>
    </dgm:pt>
    <dgm:pt modelId="{B654A497-F541-7549-BE0E-498FA6C82A50}" type="pres">
      <dgm:prSet presAssocID="{02A61A4C-1F65-A841-A4A7-C10C1A746FA0}" presName="hierChild5" presStyleCnt="0"/>
      <dgm:spPr/>
    </dgm:pt>
    <dgm:pt modelId="{EE101F31-B493-FC4F-BA98-4DA93A046699}" type="pres">
      <dgm:prSet presAssocID="{9ACF3F41-8BA2-7647-A016-D4E5A2A50965}" presName="Name37" presStyleLbl="parChTrans1D3" presStyleIdx="17" presStyleCnt="18" custSzY="6370837"/>
      <dgm:spPr/>
      <dgm:t>
        <a:bodyPr/>
        <a:lstStyle/>
        <a:p>
          <a:endParaRPr lang="en-US"/>
        </a:p>
      </dgm:t>
    </dgm:pt>
    <dgm:pt modelId="{743FC97E-EDF8-8440-9167-2FF59851F03F}" type="pres">
      <dgm:prSet presAssocID="{6308DAA9-F7A4-2D4C-A7FF-EBCD8392D5BE}" presName="hierRoot2" presStyleCnt="0">
        <dgm:presLayoutVars>
          <dgm:hierBranch val="init"/>
        </dgm:presLayoutVars>
      </dgm:prSet>
      <dgm:spPr/>
    </dgm:pt>
    <dgm:pt modelId="{72E8E29A-9051-694D-A417-CE6EE9089A15}" type="pres">
      <dgm:prSet presAssocID="{6308DAA9-F7A4-2D4C-A7FF-EBCD8392D5BE}" presName="rootComposite" presStyleCnt="0"/>
      <dgm:spPr/>
    </dgm:pt>
    <dgm:pt modelId="{72D53164-9DF1-584A-A8A9-A81741EC7864}" type="pres">
      <dgm:prSet presAssocID="{6308DAA9-F7A4-2D4C-A7FF-EBCD8392D5BE}" presName="rootText" presStyleLbl="node3" presStyleIdx="17" presStyleCnt="18" custScaleY="163289">
        <dgm:presLayoutVars>
          <dgm:chPref val="3"/>
        </dgm:presLayoutVars>
      </dgm:prSet>
      <dgm:spPr>
        <a:prstGeom prst="roundRect">
          <a:avLst/>
        </a:prstGeom>
      </dgm:spPr>
      <dgm:t>
        <a:bodyPr/>
        <a:lstStyle/>
        <a:p>
          <a:endParaRPr lang="en-US"/>
        </a:p>
      </dgm:t>
    </dgm:pt>
    <dgm:pt modelId="{5108E4B9-C933-084B-87BD-17BA21FAC394}" type="pres">
      <dgm:prSet presAssocID="{6308DAA9-F7A4-2D4C-A7FF-EBCD8392D5BE}" presName="rootConnector" presStyleLbl="node3" presStyleIdx="17" presStyleCnt="18"/>
      <dgm:spPr/>
      <dgm:t>
        <a:bodyPr/>
        <a:lstStyle/>
        <a:p>
          <a:endParaRPr lang="en-US"/>
        </a:p>
      </dgm:t>
    </dgm:pt>
    <dgm:pt modelId="{649410E7-1B76-0045-8BBB-B901D379D30D}" type="pres">
      <dgm:prSet presAssocID="{6308DAA9-F7A4-2D4C-A7FF-EBCD8392D5BE}" presName="hierChild4" presStyleCnt="0"/>
      <dgm:spPr/>
    </dgm:pt>
    <dgm:pt modelId="{71FE410D-3141-9A4F-B3B0-E72482DDAA9E}" type="pres">
      <dgm:prSet presAssocID="{6308DAA9-F7A4-2D4C-A7FF-EBCD8392D5BE}" presName="hierChild5" presStyleCnt="0"/>
      <dgm:spPr/>
    </dgm:pt>
    <dgm:pt modelId="{563039BE-2DC6-AF4D-A183-8E60493152DD}" type="pres">
      <dgm:prSet presAssocID="{D069104F-4C0B-3147-953F-A5D93E0C8F12}" presName="hierChild5" presStyleCnt="0"/>
      <dgm:spPr/>
    </dgm:pt>
    <dgm:pt modelId="{42EF44E0-7DBD-CF4E-9797-0AB81CD9C8EC}" type="pres">
      <dgm:prSet presAssocID="{25517EF2-3665-EB4B-9D7F-2C037C685C4E}" presName="hierChild3" presStyleCnt="0"/>
      <dgm:spPr/>
    </dgm:pt>
  </dgm:ptLst>
  <dgm:cxnLst>
    <dgm:cxn modelId="{DE82662A-7317-3A44-9B7E-83AB1D77A8E6}" srcId="{67FD2AD4-7083-B34B-8AB9-E13081EF86F9}" destId="{73C75B63-3273-2346-8A61-65D3F5E8CBC0}" srcOrd="1" destOrd="0" parTransId="{411D2A1A-9B4A-674A-B93D-2C923CBCDFDB}" sibTransId="{0DA3E687-69A2-C040-A91D-CC726019B849}"/>
    <dgm:cxn modelId="{98095A4A-FA31-E347-A2D2-A4737A7F0D8C}" type="presOf" srcId="{EFC072AF-A0F9-2340-A2B6-3F5834C6C0F3}" destId="{5030E2EE-B0D1-364F-B6DF-876E246B6AE1}" srcOrd="0" destOrd="0" presId="urn:microsoft.com/office/officeart/2005/8/layout/orgChart1"/>
    <dgm:cxn modelId="{ED0BEA32-BE09-DE4C-AE70-59AD6BA3773F}" type="presOf" srcId="{76C0524B-EDDB-FA4A-A6A1-2FDCA1EEFA25}" destId="{129F0079-A483-7E48-A321-97C36DBA0475}" srcOrd="0" destOrd="0" presId="urn:microsoft.com/office/officeart/2005/8/layout/orgChart1"/>
    <dgm:cxn modelId="{4D4D9814-E421-3F45-A534-4DF9684F46EC}" type="presOf" srcId="{A53C0CFE-184A-1146-8FA6-FFD39694D4B0}" destId="{2CA7FC21-BB86-E144-A530-0AA3F7C11ADE}" srcOrd="1" destOrd="0" presId="urn:microsoft.com/office/officeart/2005/8/layout/orgChart1"/>
    <dgm:cxn modelId="{324D3C05-7E11-6142-B9B7-0DD112C19A36}" type="presOf" srcId="{C6588B98-FB28-334E-BDCA-56820ACB0569}" destId="{CCA6A030-3016-FB4D-BB2D-797B6CA6511F}" srcOrd="1" destOrd="0" presId="urn:microsoft.com/office/officeart/2005/8/layout/orgChart1"/>
    <dgm:cxn modelId="{B00A64FC-E62B-0B48-B010-0717DFBC827A}" srcId="{AF3357FD-18B0-1644-966C-BCE3778B58DD}" destId="{25517EF2-3665-EB4B-9D7F-2C037C685C4E}" srcOrd="0" destOrd="0" parTransId="{D1D1E974-9AD9-1A42-A6F6-F902A49BDCFF}" sibTransId="{56D907EF-C84C-3B48-8C95-0AE5C1659474}"/>
    <dgm:cxn modelId="{507A7539-079D-884C-A750-47DC0E0F2B5F}" srcId="{25517EF2-3665-EB4B-9D7F-2C037C685C4E}" destId="{5B4F3E0D-971E-3647-86E4-6868F203DC2B}" srcOrd="2" destOrd="0" parTransId="{F35DDD95-A0E8-D04C-90F4-7D2AE6A0AF8D}" sibTransId="{F173B29F-EA33-FF4F-8F61-60CD6EE8F154}"/>
    <dgm:cxn modelId="{9682A51E-0ABF-CA45-B106-23F267FF6DD2}" type="presOf" srcId="{14A9B10A-492B-F046-AA45-A18CECB57509}" destId="{6D27B739-9A5A-FE45-BC1E-B91110B18E69}" srcOrd="1" destOrd="0" presId="urn:microsoft.com/office/officeart/2005/8/layout/orgChart1"/>
    <dgm:cxn modelId="{5737ED41-E74E-274D-BE70-9D25EE1BD28D}" type="presOf" srcId="{1DF3C01B-2614-5C42-80DD-7422BFA9073B}" destId="{C8DB6E88-65AB-3947-BF5E-D30F973C203C}" srcOrd="0" destOrd="0" presId="urn:microsoft.com/office/officeart/2005/8/layout/orgChart1"/>
    <dgm:cxn modelId="{8E83FC29-48C5-4444-AE90-5339513C29A4}" type="presOf" srcId="{705E07FB-4646-5640-AD39-5663CA022EE0}" destId="{FCB70BC6-8BC2-7740-8498-E09039141FAE}" srcOrd="0" destOrd="0" presId="urn:microsoft.com/office/officeart/2005/8/layout/orgChart1"/>
    <dgm:cxn modelId="{05A4FB16-4D12-7948-A4CA-08CFD26EA34A}" type="presOf" srcId="{7FF81494-F22E-3B4A-AE0B-9C51C4A0F12C}" destId="{D62CB30F-6901-594F-8775-B46F34227BC9}" srcOrd="0" destOrd="0" presId="urn:microsoft.com/office/officeart/2005/8/layout/orgChart1"/>
    <dgm:cxn modelId="{03D55E00-4AD3-EB4B-A0E3-8C47A5659739}" type="presOf" srcId="{BA6FF226-3807-2346-A740-CE3E60981FB3}" destId="{8C060B5F-BBBF-2049-9E6B-A69B2A074D8E}" srcOrd="1" destOrd="0" presId="urn:microsoft.com/office/officeart/2005/8/layout/orgChart1"/>
    <dgm:cxn modelId="{8F3380B3-DB36-6446-B997-B010C341C21E}" type="presOf" srcId="{338A4ADE-7A0B-DA46-A749-6378547614AE}" destId="{9276651D-6194-EA49-8E09-02C1BFFFA9D5}" srcOrd="0" destOrd="0" presId="urn:microsoft.com/office/officeart/2005/8/layout/orgChart1"/>
    <dgm:cxn modelId="{169571C6-3C67-8343-8BE2-0AAE8C1EB264}" type="presOf" srcId="{964A5E62-97E7-C048-9268-0DD949F4134F}" destId="{7B5B0F12-5DDA-9943-9092-2A10F2FE9601}" srcOrd="0" destOrd="0" presId="urn:microsoft.com/office/officeart/2005/8/layout/orgChart1"/>
    <dgm:cxn modelId="{6C0664FE-3DD9-B44B-A474-12312C125204}" type="presOf" srcId="{1DF3C01B-2614-5C42-80DD-7422BFA9073B}" destId="{62108426-B799-194D-AB78-22283909E5A2}" srcOrd="1" destOrd="0" presId="urn:microsoft.com/office/officeart/2005/8/layout/orgChart1"/>
    <dgm:cxn modelId="{D86C677E-69C0-2042-9D64-0871A1820172}" type="presOf" srcId="{5959550F-67B9-B04E-91C4-902A91EFE7E5}" destId="{B9CC71A5-3834-534E-9ECE-601DD70734B2}" srcOrd="1" destOrd="0" presId="urn:microsoft.com/office/officeart/2005/8/layout/orgChart1"/>
    <dgm:cxn modelId="{399036D6-1478-DB4C-9301-B6B97C752263}" type="presOf" srcId="{D388754C-8CDF-944F-81D9-734A1D624DE5}" destId="{667C8B84-66F0-D04D-AF88-0F329C747158}" srcOrd="0" destOrd="0" presId="urn:microsoft.com/office/officeart/2005/8/layout/orgChart1"/>
    <dgm:cxn modelId="{E04C6730-3FFD-5D4B-985C-9C0A77B05039}" srcId="{4B26847B-222F-E04F-B93F-7958496DA65C}" destId="{C6588B98-FB28-334E-BDCA-56820ACB0569}" srcOrd="1" destOrd="0" parTransId="{3B5A4386-A293-8747-A207-2A8D5CABEA7A}" sibTransId="{1DAD777C-69EB-524E-B685-59D1A2C22C8E}"/>
    <dgm:cxn modelId="{19B425DD-BC3C-AC4B-A529-3135946C8EAA}" type="presOf" srcId="{5B4F3E0D-971E-3647-86E4-6868F203DC2B}" destId="{8249A152-56BE-E046-8A45-0C56C7C1D191}" srcOrd="1" destOrd="0" presId="urn:microsoft.com/office/officeart/2005/8/layout/orgChart1"/>
    <dgm:cxn modelId="{1A7C42BD-BFF2-FA42-B0CE-49240439EFDE}" type="presOf" srcId="{1A5ABF02-3DC0-3F46-89A6-D4A83DB904D1}" destId="{7AAAE15D-9C55-1D43-B8B7-B04F0D48EABD}" srcOrd="0" destOrd="0" presId="urn:microsoft.com/office/officeart/2005/8/layout/orgChart1"/>
    <dgm:cxn modelId="{CA1251BF-48D4-2343-9F00-F655006720A1}" type="presOf" srcId="{6308DAA9-F7A4-2D4C-A7FF-EBCD8392D5BE}" destId="{72D53164-9DF1-584A-A8A9-A81741EC7864}" srcOrd="0" destOrd="0" presId="urn:microsoft.com/office/officeart/2005/8/layout/orgChart1"/>
    <dgm:cxn modelId="{45EA203C-578E-7742-901B-E130DB810D48}" type="presOf" srcId="{E110FCDD-5DD2-7A49-B84B-225145A8853A}" destId="{FD0BC2B8-08A5-504D-8B97-A8DFE6F2353D}" srcOrd="0" destOrd="0" presId="urn:microsoft.com/office/officeart/2005/8/layout/orgChart1"/>
    <dgm:cxn modelId="{11BA4FF9-3E27-F446-96A9-52E0E5EB49BB}" type="presOf" srcId="{50B35D2E-59F3-7346-A146-7B84569A5183}" destId="{36770380-7547-ED48-AB39-E00707E5AE49}" srcOrd="1" destOrd="0" presId="urn:microsoft.com/office/officeart/2005/8/layout/orgChart1"/>
    <dgm:cxn modelId="{869C65F3-11EE-BB46-ADAE-9187E793F12F}" type="presOf" srcId="{338A4ADE-7A0B-DA46-A749-6378547614AE}" destId="{CD5ED238-8A46-9548-AD80-16CB05272A14}" srcOrd="1" destOrd="0" presId="urn:microsoft.com/office/officeart/2005/8/layout/orgChart1"/>
    <dgm:cxn modelId="{FE7A0A06-6835-0D48-B165-DEABCE50346A}" type="presOf" srcId="{A53C0CFE-184A-1146-8FA6-FFD39694D4B0}" destId="{210923D2-AC03-0946-B698-462DDD0B6542}" srcOrd="0" destOrd="0" presId="urn:microsoft.com/office/officeart/2005/8/layout/orgChart1"/>
    <dgm:cxn modelId="{EE4FC0F7-E46D-A248-900B-1191A05B49EC}" type="presOf" srcId="{D069104F-4C0B-3147-953F-A5D93E0C8F12}" destId="{0FE69002-AB56-3740-A6BE-C29542137A47}" srcOrd="0" destOrd="0" presId="urn:microsoft.com/office/officeart/2005/8/layout/orgChart1"/>
    <dgm:cxn modelId="{55554E11-9591-C94B-AD20-6DB2D96DA61B}" type="presOf" srcId="{4BB222BF-BE28-4C47-9A72-39286C322445}" destId="{323D0151-0AF0-7A44-BCE6-C10462839127}" srcOrd="0" destOrd="0" presId="urn:microsoft.com/office/officeart/2005/8/layout/orgChart1"/>
    <dgm:cxn modelId="{6F47062D-6E63-1C4F-8B35-A2743E2FDBE3}" srcId="{C70D9AAD-288E-0B4A-A4D2-9169EEB4C5EF}" destId="{338A4ADE-7A0B-DA46-A749-6378547614AE}" srcOrd="2" destOrd="0" parTransId="{7085B25D-4135-BC43-B854-9EAACE03C079}" sibTransId="{DAB67360-C5DA-964D-A265-B384EDA879CD}"/>
    <dgm:cxn modelId="{25AB3C95-40C2-5A4C-924F-4F5741F8E6BD}" type="presOf" srcId="{9197C098-8C8E-D049-B974-F3A046C386B0}" destId="{CE80B93D-D000-8B4B-8100-E0B67DB0E877}" srcOrd="0" destOrd="0" presId="urn:microsoft.com/office/officeart/2005/8/layout/orgChart1"/>
    <dgm:cxn modelId="{74999E7E-274D-3341-8034-6FC3C42FE6F1}" type="presOf" srcId="{C70D9AAD-288E-0B4A-A4D2-9169EEB4C5EF}" destId="{A8476105-19F1-B646-B233-7DFE7667D28F}" srcOrd="1" destOrd="0" presId="urn:microsoft.com/office/officeart/2005/8/layout/orgChart1"/>
    <dgm:cxn modelId="{468376E6-F32C-784C-AF1C-F32F9EEE22F0}" srcId="{67FD2AD4-7083-B34B-8AB9-E13081EF86F9}" destId="{480C2FAB-0A28-DC43-92DE-A584FB0DAE31}" srcOrd="0" destOrd="0" parTransId="{D5307D3E-A636-324D-8C3A-9829230BB487}" sibTransId="{A7E8F226-EDDB-004D-8FA7-624FBA8EE44D}"/>
    <dgm:cxn modelId="{D6FDFFD2-2696-5E49-9EA9-DE4C581741D6}" type="presOf" srcId="{C3ACB4D6-7889-774B-A5F7-FFA378C074CF}" destId="{A9018DA5-07A6-1047-8906-D5CEBD268137}" srcOrd="1" destOrd="0" presId="urn:microsoft.com/office/officeart/2005/8/layout/orgChart1"/>
    <dgm:cxn modelId="{A0BAFEFE-E577-9F46-A046-40F7912C1083}" type="presOf" srcId="{50B35D2E-59F3-7346-A146-7B84569A5183}" destId="{2ED78204-93EC-064C-823A-1586CD82394C}" srcOrd="0" destOrd="0" presId="urn:microsoft.com/office/officeart/2005/8/layout/orgChart1"/>
    <dgm:cxn modelId="{A3DEF5DD-4DA5-064F-9A64-A11BE283B5FA}" srcId="{4B26847B-222F-E04F-B93F-7958496DA65C}" destId="{50B35D2E-59F3-7346-A146-7B84569A5183}" srcOrd="0" destOrd="0" parTransId="{33424807-C11D-7C4A-85E7-BB0E19ACD352}" sibTransId="{FD010288-FF0D-2D49-A5AC-435BA24A2550}"/>
    <dgm:cxn modelId="{7628F22B-61AE-6445-A4B9-A62148599558}" type="presOf" srcId="{F5F28F68-69DA-C347-938A-3CCF605B29AB}" destId="{6AB3DB73-5383-E944-8E93-5490DBAC07ED}" srcOrd="0" destOrd="0" presId="urn:microsoft.com/office/officeart/2005/8/layout/orgChart1"/>
    <dgm:cxn modelId="{9D1E9560-B00B-2B46-A249-6D82C959E76D}" type="presOf" srcId="{D069104F-4C0B-3147-953F-A5D93E0C8F12}" destId="{78596C7B-EEAE-2041-808D-BB85B551442B}" srcOrd="1" destOrd="0" presId="urn:microsoft.com/office/officeart/2005/8/layout/orgChart1"/>
    <dgm:cxn modelId="{4F00E388-C72F-E24D-B41C-C77F61A7A0A7}" srcId="{C70D9AAD-288E-0B4A-A4D2-9169EEB4C5EF}" destId="{BA6FF226-3807-2346-A740-CE3E60981FB3}" srcOrd="0" destOrd="0" parTransId="{705E07FB-4646-5640-AD39-5663CA022EE0}" sibTransId="{4F2ECF20-4C49-5249-A0EF-5FAE6D3E84AE}"/>
    <dgm:cxn modelId="{2BF524E2-1BD9-DA47-8878-2D47CE1636A8}" srcId="{C70D9AAD-288E-0B4A-A4D2-9169EEB4C5EF}" destId="{8C2CA5B6-6500-9D43-9984-AE6727A18F74}" srcOrd="1" destOrd="0" parTransId="{537E3EB2-8400-9F46-8E14-018A525A6F13}" sibTransId="{B03FC588-7422-B345-AC2A-404830D942A9}"/>
    <dgm:cxn modelId="{EB327FC3-1B26-EC46-938A-8D30EA6DA080}" type="presOf" srcId="{49CB4C51-4B03-F94A-A9CC-2536C8F9270F}" destId="{F63DB975-E825-ED40-9ED5-8EF8047133DC}" srcOrd="0" destOrd="0" presId="urn:microsoft.com/office/officeart/2005/8/layout/orgChart1"/>
    <dgm:cxn modelId="{A06754E3-78BC-6F40-B5AC-421CEDEFF855}" type="presOf" srcId="{D388754C-8CDF-944F-81D9-734A1D624DE5}" destId="{C032D471-E31D-BF47-90BC-0B75D3183438}" srcOrd="1" destOrd="0" presId="urn:microsoft.com/office/officeart/2005/8/layout/orgChart1"/>
    <dgm:cxn modelId="{BCBE94FC-A784-064C-826B-85DA0D97A068}" type="presOf" srcId="{25517EF2-3665-EB4B-9D7F-2C037C685C4E}" destId="{06637420-A86F-4644-990A-75D86B7E454C}" srcOrd="0" destOrd="0" presId="urn:microsoft.com/office/officeart/2005/8/layout/orgChart1"/>
    <dgm:cxn modelId="{44982454-02A3-964A-A7E9-6B1BED7E6639}" srcId="{D069104F-4C0B-3147-953F-A5D93E0C8F12}" destId="{02A61A4C-1F65-A841-A4A7-C10C1A746FA0}" srcOrd="1" destOrd="0" parTransId="{9197C098-8C8E-D049-B974-F3A046C386B0}" sibTransId="{9C0643BD-024C-6945-806C-AD1907A088E2}"/>
    <dgm:cxn modelId="{62910131-FEA6-F84A-BF21-978561246D8A}" type="presOf" srcId="{7D0C8FC0-2822-5146-86DC-E862D57D28F7}" destId="{4C9BEE53-E580-D245-BCCD-590C85D76065}" srcOrd="0" destOrd="0" presId="urn:microsoft.com/office/officeart/2005/8/layout/orgChart1"/>
    <dgm:cxn modelId="{3239CA50-177B-2045-ACBA-175C6D2A42FC}" type="presOf" srcId="{C70D9AAD-288E-0B4A-A4D2-9169EEB4C5EF}" destId="{6A1B3FF2-4302-AB42-9144-D0C7AF33189D}" srcOrd="0" destOrd="0" presId="urn:microsoft.com/office/officeart/2005/8/layout/orgChart1"/>
    <dgm:cxn modelId="{B456C1ED-CE32-F147-B0E7-907F06C4219F}" srcId="{25517EF2-3665-EB4B-9D7F-2C037C685C4E}" destId="{D069104F-4C0B-3147-953F-A5D93E0C8F12}" srcOrd="5" destOrd="0" parTransId="{E110FCDD-5DD2-7A49-B84B-225145A8853A}" sibTransId="{39A089AB-A795-484A-A4A6-264956AD86C0}"/>
    <dgm:cxn modelId="{9D2A32B4-16FA-544E-9C49-3B64FC2DB50D}" type="presOf" srcId="{411D2A1A-9B4A-674A-B93D-2C923CBCDFDB}" destId="{6440B106-7C72-9547-AE5A-A590A6A7292B}" srcOrd="0" destOrd="0" presId="urn:microsoft.com/office/officeart/2005/8/layout/orgChart1"/>
    <dgm:cxn modelId="{BBBE387D-7698-7F47-94B3-32B85260EEBB}" type="presOf" srcId="{11B5AD18-48FD-6A4B-A82C-B8D0882BDFD5}" destId="{35D57237-8BFB-E945-A7A7-3C3A20E1DD9C}" srcOrd="1" destOrd="0" presId="urn:microsoft.com/office/officeart/2005/8/layout/orgChart1"/>
    <dgm:cxn modelId="{42F38585-8803-4D47-AA22-24F4039BD52D}" type="presOf" srcId="{7D0052A5-00E7-E545-B888-401A40246FF3}" destId="{CDA8158C-1C6B-024B-9E64-1510DD2C7A55}" srcOrd="0" destOrd="0" presId="urn:microsoft.com/office/officeart/2005/8/layout/orgChart1"/>
    <dgm:cxn modelId="{5B7DF972-E17C-714E-A71B-3D827ED70FA6}" type="presOf" srcId="{02A61A4C-1F65-A841-A4A7-C10C1A746FA0}" destId="{AF27EFD7-AEE3-5142-9BFD-36D0D1B36002}" srcOrd="1" destOrd="0" presId="urn:microsoft.com/office/officeart/2005/8/layout/orgChart1"/>
    <dgm:cxn modelId="{A36B01A2-EF46-2B4A-B4B9-5FCB9A2315D0}" srcId="{49CB4C51-4B03-F94A-A9CC-2536C8F9270F}" destId="{14A9B10A-492B-F046-AA45-A18CECB57509}" srcOrd="0" destOrd="0" parTransId="{964A5E62-97E7-C048-9268-0DD949F4134F}" sibTransId="{7A26E861-AF89-6F4A-88AE-4CE5F18F3043}"/>
    <dgm:cxn modelId="{73F2C3CF-F5DF-A440-AD5C-B2048E012A44}" type="presOf" srcId="{8C2CA5B6-6500-9D43-9984-AE6727A18F74}" destId="{35471471-CB84-0746-BDD4-1655B6C5471A}" srcOrd="0" destOrd="0" presId="urn:microsoft.com/office/officeart/2005/8/layout/orgChart1"/>
    <dgm:cxn modelId="{0C405A27-D666-984A-914C-5A8F75D3A65A}" type="presOf" srcId="{C6588B98-FB28-334E-BDCA-56820ACB0569}" destId="{3B98D480-5A9A-0A4D-8BDC-FE216FA48EE4}" srcOrd="0" destOrd="0" presId="urn:microsoft.com/office/officeart/2005/8/layout/orgChart1"/>
    <dgm:cxn modelId="{FA7E9AE2-EAEC-8047-9B73-B7945FFA5297}" type="presOf" srcId="{480C2FAB-0A28-DC43-92DE-A584FB0DAE31}" destId="{312925C6-1321-8C4D-8ECE-565EBD85AA53}" srcOrd="0" destOrd="0" presId="urn:microsoft.com/office/officeart/2005/8/layout/orgChart1"/>
    <dgm:cxn modelId="{219BA358-66B7-0F44-B8A3-21E80178ACCF}" srcId="{25517EF2-3665-EB4B-9D7F-2C037C685C4E}" destId="{C70D9AAD-288E-0B4A-A4D2-9169EEB4C5EF}" srcOrd="1" destOrd="0" parTransId="{F5F28F68-69DA-C347-938A-3CCF605B29AB}" sibTransId="{6A1A54A5-98A7-FF49-9699-4CB4608AB21F}"/>
    <dgm:cxn modelId="{FDE7CE2D-8E83-4447-89C4-C5E3E8445C0D}" type="presOf" srcId="{5959550F-67B9-B04E-91C4-902A91EFE7E5}" destId="{0B86221D-B7E4-B74C-ACB9-8C43A9AE47F7}" srcOrd="0" destOrd="0" presId="urn:microsoft.com/office/officeart/2005/8/layout/orgChart1"/>
    <dgm:cxn modelId="{26048836-A771-BD48-8995-D7AB9ACD1FA8}" type="presOf" srcId="{5B4F3E0D-971E-3647-86E4-6868F203DC2B}" destId="{C98D4C05-6DFD-F848-8831-CA53C562EFA9}" srcOrd="0" destOrd="0" presId="urn:microsoft.com/office/officeart/2005/8/layout/orgChart1"/>
    <dgm:cxn modelId="{ED947C8C-3118-794F-A03D-8BD81D6A9BA3}" type="presOf" srcId="{6ED0CB55-86AA-574C-ACD3-3B855323E998}" destId="{10D8D681-CBDA-D246-9198-063E1F1463D5}" srcOrd="1" destOrd="0" presId="urn:microsoft.com/office/officeart/2005/8/layout/orgChart1"/>
    <dgm:cxn modelId="{862891FB-9F06-6246-9361-FA9C8A736C00}" type="presOf" srcId="{3B5A4386-A293-8747-A207-2A8D5CABEA7A}" destId="{88E2A4D5-E62D-B048-BDF2-2627D68216CE}" srcOrd="0" destOrd="0" presId="urn:microsoft.com/office/officeart/2005/8/layout/orgChart1"/>
    <dgm:cxn modelId="{567C4151-E086-6440-93D2-C44BC75B3D12}" srcId="{5B4F3E0D-971E-3647-86E4-6868F203DC2B}" destId="{11B5AD18-48FD-6A4B-A82C-B8D0882BDFD5}" srcOrd="1" destOrd="0" parTransId="{76C0524B-EDDB-FA4A-A6A1-2FDCA1EEFA25}" sibTransId="{F5E5DF55-1CB3-094F-AB65-827743BF210C}"/>
    <dgm:cxn modelId="{2DB5EFD8-AA35-3D44-982F-3C839A1C30C0}" srcId="{4B26847B-222F-E04F-B93F-7958496DA65C}" destId="{6ED0CB55-86AA-574C-ACD3-3B855323E998}" srcOrd="2" destOrd="0" parTransId="{7D0052A5-00E7-E545-B888-401A40246FF3}" sibTransId="{29D931B7-5EF3-7C46-8DD6-E1AF7D9AF902}"/>
    <dgm:cxn modelId="{B03B2853-7799-6542-973F-38921B9C59DC}" srcId="{D069104F-4C0B-3147-953F-A5D93E0C8F12}" destId="{C3ACB4D6-7889-774B-A5F7-FFA378C074CF}" srcOrd="0" destOrd="0" parTransId="{2D781344-65A3-CC42-AE48-89E6ECA195E3}" sibTransId="{D38DE1B7-1B09-0E49-ACB8-C9CFDEF1647E}"/>
    <dgm:cxn modelId="{1FBD23F0-1A4B-974D-BEAC-CB32E0047713}" type="presOf" srcId="{BA6FF226-3807-2346-A740-CE3E60981FB3}" destId="{22959F47-69F7-D445-9334-5C7C176A2653}" srcOrd="0" destOrd="0" presId="urn:microsoft.com/office/officeart/2005/8/layout/orgChart1"/>
    <dgm:cxn modelId="{70975066-D8FE-6748-BCE2-A0A6BD2360D4}" type="presOf" srcId="{1A5ABF02-3DC0-3F46-89A6-D4A83DB904D1}" destId="{C8CB1346-EB34-094E-8B3A-28042614FB03}" srcOrd="1" destOrd="0" presId="urn:microsoft.com/office/officeart/2005/8/layout/orgChart1"/>
    <dgm:cxn modelId="{ED8BF311-C42F-AE44-80CB-D0BE5CDD9190}" type="presOf" srcId="{6ED0CB55-86AA-574C-ACD3-3B855323E998}" destId="{2C0E0A56-4821-5340-9545-5653DBEF3E82}" srcOrd="0" destOrd="0" presId="urn:microsoft.com/office/officeart/2005/8/layout/orgChart1"/>
    <dgm:cxn modelId="{B8D2BCC0-6FE6-C14B-95EE-1017E15FF158}" type="presOf" srcId="{9ACF3F41-8BA2-7647-A016-D4E5A2A50965}" destId="{EE101F31-B493-FC4F-BA98-4DA93A046699}" srcOrd="0" destOrd="0" presId="urn:microsoft.com/office/officeart/2005/8/layout/orgChart1"/>
    <dgm:cxn modelId="{4EAB4C17-4E6A-B048-B80A-0BC9FDADE94F}" type="presOf" srcId="{02A61A4C-1F65-A841-A4A7-C10C1A746FA0}" destId="{EA99EEAC-15F9-BB4A-A17F-8DF66EAF1CDC}" srcOrd="0" destOrd="0" presId="urn:microsoft.com/office/officeart/2005/8/layout/orgChart1"/>
    <dgm:cxn modelId="{765F496A-DF0A-D340-82AA-515F7E305441}" srcId="{49CB4C51-4B03-F94A-A9CC-2536C8F9270F}" destId="{5959550F-67B9-B04E-91C4-902A91EFE7E5}" srcOrd="2" destOrd="0" parTransId="{BEEC9641-8114-8F4D-8D80-33DB53450849}" sibTransId="{13323021-6798-904F-A2E1-2BF25AC8C76A}"/>
    <dgm:cxn modelId="{EED427D4-D0EB-C24B-B22E-6929A7D537E7}" type="presOf" srcId="{67FD2AD4-7083-B34B-8AB9-E13081EF86F9}" destId="{572E3CDC-5D66-514E-8912-D04551846EC7}" srcOrd="0" destOrd="0" presId="urn:microsoft.com/office/officeart/2005/8/layout/orgChart1"/>
    <dgm:cxn modelId="{C0A75BEE-EF55-7641-B2C8-EFBC71859EA2}" type="presOf" srcId="{2D781344-65A3-CC42-AE48-89E6ECA195E3}" destId="{18EACF5C-66CA-3E4D-8C5C-FF5941FDB285}" srcOrd="0" destOrd="0" presId="urn:microsoft.com/office/officeart/2005/8/layout/orgChart1"/>
    <dgm:cxn modelId="{6395D2D6-9093-984B-BF32-B7A82BED7ADA}" srcId="{49CB4C51-4B03-F94A-A9CC-2536C8F9270F}" destId="{D388754C-8CDF-944F-81D9-734A1D624DE5}" srcOrd="1" destOrd="0" parTransId="{7D0C8FC0-2822-5146-86DC-E862D57D28F7}" sibTransId="{06E79FDE-5F09-BB4D-B6D0-7AB67CB26B63}"/>
    <dgm:cxn modelId="{D3656547-4FE9-5C46-8AF9-1BAE6BBB3612}" srcId="{5B4F3E0D-971E-3647-86E4-6868F203DC2B}" destId="{1DF3C01B-2614-5C42-80DD-7422BFA9073B}" srcOrd="2" destOrd="0" parTransId="{EFC072AF-A0F9-2340-A2B6-3F5834C6C0F3}" sibTransId="{036CF8FE-F202-7F4F-841D-5436F4E76D0C}"/>
    <dgm:cxn modelId="{5A29C4B8-A95D-E248-A600-052A5AB7C222}" type="presOf" srcId="{537E3EB2-8400-9F46-8E14-018A525A6F13}" destId="{6CD5F04D-881E-FF45-840F-9065F725359E}" srcOrd="0" destOrd="0" presId="urn:microsoft.com/office/officeart/2005/8/layout/orgChart1"/>
    <dgm:cxn modelId="{C6B477D4-F8A8-9F4F-9160-7F24E03E9944}" type="presOf" srcId="{49CB4C51-4B03-F94A-A9CC-2536C8F9270F}" destId="{448BE257-6BD3-154B-8455-7442213A9C1F}" srcOrd="1" destOrd="0" presId="urn:microsoft.com/office/officeart/2005/8/layout/orgChart1"/>
    <dgm:cxn modelId="{8F920AE9-1886-AC40-A98C-863F5AB3ABB2}" srcId="{25517EF2-3665-EB4B-9D7F-2C037C685C4E}" destId="{4B26847B-222F-E04F-B93F-7958496DA65C}" srcOrd="0" destOrd="0" parTransId="{07AFA923-B56F-0042-B585-5B06F0FA0896}" sibTransId="{EF2C2E1F-9C59-4E44-9BFF-B9B74523D935}"/>
    <dgm:cxn modelId="{A2806213-7ACE-9246-A0F4-FF25952D7424}" type="presOf" srcId="{F35DDD95-A0E8-D04C-90F4-7D2AE6A0AF8D}" destId="{910491EA-604E-6842-9866-DF2E9CD33930}" srcOrd="0" destOrd="0" presId="urn:microsoft.com/office/officeart/2005/8/layout/orgChart1"/>
    <dgm:cxn modelId="{A17B5C1A-C71B-C44A-969A-A55A3BD40075}" type="presOf" srcId="{D5307D3E-A636-324D-8C3A-9829230BB487}" destId="{44F6E45F-C07E-304C-AB67-8E8552A42778}" srcOrd="0" destOrd="0" presId="urn:microsoft.com/office/officeart/2005/8/layout/orgChart1"/>
    <dgm:cxn modelId="{E72BC4EF-4F4F-F544-966A-504C0AC06BF3}" type="presOf" srcId="{3096FC50-CDEA-CD40-A16C-4FE101488966}" destId="{65969C0C-C4EF-8044-B112-A2052B5FA261}" srcOrd="0" destOrd="0" presId="urn:microsoft.com/office/officeart/2005/8/layout/orgChart1"/>
    <dgm:cxn modelId="{65F855A4-20B0-764C-8C3E-764061693DDA}" type="presOf" srcId="{7085B25D-4135-BC43-B854-9EAACE03C079}" destId="{2DC6FEB6-D342-A148-B4E4-3574392637D2}" srcOrd="0" destOrd="0" presId="urn:microsoft.com/office/officeart/2005/8/layout/orgChart1"/>
    <dgm:cxn modelId="{2A12C5C6-7671-4747-AC6D-B46294573592}" type="presOf" srcId="{480C2FAB-0A28-DC43-92DE-A584FB0DAE31}" destId="{51242648-056D-864F-A823-CF2B10E36DC5}" srcOrd="1" destOrd="0" presId="urn:microsoft.com/office/officeart/2005/8/layout/orgChart1"/>
    <dgm:cxn modelId="{7D8294E6-07BD-5D4C-9ACF-8116659315FA}" srcId="{5B4F3E0D-971E-3647-86E4-6868F203DC2B}" destId="{1A5ABF02-3DC0-3F46-89A6-D4A83DB904D1}" srcOrd="0" destOrd="0" parTransId="{7FF81494-F22E-3B4A-AE0B-9C51C4A0F12C}" sibTransId="{CD3754BE-0B21-2447-82D0-254D5E91DDB9}"/>
    <dgm:cxn modelId="{98F155EB-8E42-6E4B-ADFF-28C4AC20F3A8}" type="presOf" srcId="{25517EF2-3665-EB4B-9D7F-2C037C685C4E}" destId="{466535D8-AEE6-1D47-974F-880041EEEAA5}" srcOrd="1" destOrd="0" presId="urn:microsoft.com/office/officeart/2005/8/layout/orgChart1"/>
    <dgm:cxn modelId="{CC2BDF27-613A-4348-BC2C-B4F026A8DD66}" type="presOf" srcId="{6308DAA9-F7A4-2D4C-A7FF-EBCD8392D5BE}" destId="{5108E4B9-C933-084B-87BD-17BA21FAC394}" srcOrd="1" destOrd="0" presId="urn:microsoft.com/office/officeart/2005/8/layout/orgChart1"/>
    <dgm:cxn modelId="{36096C7A-FC64-3E40-A831-45A1FB159AE5}" type="presOf" srcId="{8C2CA5B6-6500-9D43-9984-AE6727A18F74}" destId="{BF48F31E-442A-8542-BEC6-8A1283ECC0DC}" srcOrd="1" destOrd="0" presId="urn:microsoft.com/office/officeart/2005/8/layout/orgChart1"/>
    <dgm:cxn modelId="{DE475260-3A92-934F-B6B6-0F0EE16460F4}" srcId="{67FD2AD4-7083-B34B-8AB9-E13081EF86F9}" destId="{A53C0CFE-184A-1146-8FA6-FFD39694D4B0}" srcOrd="2" destOrd="0" parTransId="{3096FC50-CDEA-CD40-A16C-4FE101488966}" sibTransId="{713A8226-1B84-4E41-A1CB-EBD5E7CFFDE7}"/>
    <dgm:cxn modelId="{1BA6F9EE-A2DD-0743-9AB9-02C159019733}" srcId="{25517EF2-3665-EB4B-9D7F-2C037C685C4E}" destId="{67FD2AD4-7083-B34B-8AB9-E13081EF86F9}" srcOrd="4" destOrd="0" parTransId="{F409B74A-4849-4F40-B00A-E62D8179565D}" sibTransId="{3897B640-7E39-3E42-96E9-264EBC4AEE1F}"/>
    <dgm:cxn modelId="{060DEB37-3EAC-C442-B4DD-6F3A795014A1}" type="presOf" srcId="{14A9B10A-492B-F046-AA45-A18CECB57509}" destId="{BD45870A-B3FE-4649-A1E8-44ABA898ACEB}" srcOrd="0" destOrd="0" presId="urn:microsoft.com/office/officeart/2005/8/layout/orgChart1"/>
    <dgm:cxn modelId="{62F5AA70-EC51-A44D-B5FB-9027BA77C6BD}" type="presOf" srcId="{73C75B63-3273-2346-8A61-65D3F5E8CBC0}" destId="{8F158EFB-F898-3C42-9661-FD99398859DA}" srcOrd="1" destOrd="0" presId="urn:microsoft.com/office/officeart/2005/8/layout/orgChart1"/>
    <dgm:cxn modelId="{FB02E018-6D6C-A344-8FA0-76109E7AB411}" type="presOf" srcId="{73C75B63-3273-2346-8A61-65D3F5E8CBC0}" destId="{96DE10DD-2A27-1E4E-A6B9-8640BCC5A191}" srcOrd="0" destOrd="0" presId="urn:microsoft.com/office/officeart/2005/8/layout/orgChart1"/>
    <dgm:cxn modelId="{4116430D-22AB-7A45-9901-B4EA7E63A3D0}" type="presOf" srcId="{BEEC9641-8114-8F4D-8D80-33DB53450849}" destId="{EBF62F60-4DCC-6C46-AE65-EDFFE870F1F4}" srcOrd="0" destOrd="0" presId="urn:microsoft.com/office/officeart/2005/8/layout/orgChart1"/>
    <dgm:cxn modelId="{F4F3F9CB-DEB6-CA46-9E6D-7E2C087CD957}" type="presOf" srcId="{67FD2AD4-7083-B34B-8AB9-E13081EF86F9}" destId="{64829248-69CA-0B4E-875C-600221CC892E}" srcOrd="1" destOrd="0" presId="urn:microsoft.com/office/officeart/2005/8/layout/orgChart1"/>
    <dgm:cxn modelId="{B546A6F6-CAFB-CF40-B926-13BA09C0949F}" type="presOf" srcId="{F409B74A-4849-4F40-B00A-E62D8179565D}" destId="{1480E8B4-F1B6-8246-9806-7D2D0CB68815}" srcOrd="0" destOrd="0" presId="urn:microsoft.com/office/officeart/2005/8/layout/orgChart1"/>
    <dgm:cxn modelId="{63669B51-BCDF-0842-B024-AAB8E4130539}" type="presOf" srcId="{07AFA923-B56F-0042-B585-5B06F0FA0896}" destId="{0F5D9B2B-0CE6-4D47-A7B6-80BAEBDC59FC}" srcOrd="0" destOrd="0" presId="urn:microsoft.com/office/officeart/2005/8/layout/orgChart1"/>
    <dgm:cxn modelId="{6E5B6604-5B76-3849-9C1C-887303119EF0}" type="presOf" srcId="{4B26847B-222F-E04F-B93F-7958496DA65C}" destId="{A7DBADC9-C072-5C48-A3E3-552A2F42BAEE}" srcOrd="1" destOrd="0" presId="urn:microsoft.com/office/officeart/2005/8/layout/orgChart1"/>
    <dgm:cxn modelId="{51CA6A03-7C3D-BD43-9E7B-29FFC50ADFC3}" type="presOf" srcId="{4B26847B-222F-E04F-B93F-7958496DA65C}" destId="{91D7ADA8-1475-9349-913E-9C2D53C1D7C9}" srcOrd="0" destOrd="0" presId="urn:microsoft.com/office/officeart/2005/8/layout/orgChart1"/>
    <dgm:cxn modelId="{4C4FAA6A-FB05-D740-AF92-B5A4CD82B0CC}" srcId="{D069104F-4C0B-3147-953F-A5D93E0C8F12}" destId="{6308DAA9-F7A4-2D4C-A7FF-EBCD8392D5BE}" srcOrd="2" destOrd="0" parTransId="{9ACF3F41-8BA2-7647-A016-D4E5A2A50965}" sibTransId="{2541B10E-6F92-C44B-974B-71F50AD1905E}"/>
    <dgm:cxn modelId="{B49A515B-8DA6-EB4C-BA98-EC8D0915DBC1}" type="presOf" srcId="{C3ACB4D6-7889-774B-A5F7-FFA378C074CF}" destId="{3F382FC2-12CB-D943-89ED-75CADBE6B2B9}" srcOrd="0" destOrd="0" presId="urn:microsoft.com/office/officeart/2005/8/layout/orgChart1"/>
    <dgm:cxn modelId="{BC5F51B1-657E-AC40-88EE-410ADB0D1E6F}" type="presOf" srcId="{AF3357FD-18B0-1644-966C-BCE3778B58DD}" destId="{30607E5D-7EC8-8446-AD48-AEEC633315C8}" srcOrd="0" destOrd="0" presId="urn:microsoft.com/office/officeart/2005/8/layout/orgChart1"/>
    <dgm:cxn modelId="{9A43DC00-7CFB-E944-A61A-772AC3B1A419}" srcId="{25517EF2-3665-EB4B-9D7F-2C037C685C4E}" destId="{49CB4C51-4B03-F94A-A9CC-2536C8F9270F}" srcOrd="3" destOrd="0" parTransId="{4BB222BF-BE28-4C47-9A72-39286C322445}" sibTransId="{B9C2BE04-1365-0646-9A8C-152868F5C0E7}"/>
    <dgm:cxn modelId="{BC3E7142-EE0E-DE49-98B2-270D562EE795}" type="presOf" srcId="{33424807-C11D-7C4A-85E7-BB0E19ACD352}" destId="{44E963F3-2784-9E43-9E90-000EB562AE2A}" srcOrd="0" destOrd="0" presId="urn:microsoft.com/office/officeart/2005/8/layout/orgChart1"/>
    <dgm:cxn modelId="{3AD55C7D-4EF7-0541-8ED5-6D71E700E7EA}" type="presOf" srcId="{11B5AD18-48FD-6A4B-A82C-B8D0882BDFD5}" destId="{7C50BECD-9391-C544-9079-7DCA06B1B106}" srcOrd="0" destOrd="0" presId="urn:microsoft.com/office/officeart/2005/8/layout/orgChart1"/>
    <dgm:cxn modelId="{3DDDCB03-2A77-F249-B7D0-52E1EA9E8EAF}" type="presParOf" srcId="{30607E5D-7EC8-8446-AD48-AEEC633315C8}" destId="{01768E30-7C00-9D46-B106-9803EF77DB72}" srcOrd="0" destOrd="0" presId="urn:microsoft.com/office/officeart/2005/8/layout/orgChart1"/>
    <dgm:cxn modelId="{2DFC475E-7C9A-E54B-A800-4952B854B19F}" type="presParOf" srcId="{01768E30-7C00-9D46-B106-9803EF77DB72}" destId="{37E44035-6D06-FE4D-927A-CD14E98DC4F7}" srcOrd="0" destOrd="0" presId="urn:microsoft.com/office/officeart/2005/8/layout/orgChart1"/>
    <dgm:cxn modelId="{DF6EFC0D-672F-7D47-BC19-296EA1E9C1CA}" type="presParOf" srcId="{37E44035-6D06-FE4D-927A-CD14E98DC4F7}" destId="{06637420-A86F-4644-990A-75D86B7E454C}" srcOrd="0" destOrd="0" presId="urn:microsoft.com/office/officeart/2005/8/layout/orgChart1"/>
    <dgm:cxn modelId="{82FF2E0A-859F-0742-92BD-AD7EACA5BD34}" type="presParOf" srcId="{37E44035-6D06-FE4D-927A-CD14E98DC4F7}" destId="{466535D8-AEE6-1D47-974F-880041EEEAA5}" srcOrd="1" destOrd="0" presId="urn:microsoft.com/office/officeart/2005/8/layout/orgChart1"/>
    <dgm:cxn modelId="{9DFA554F-BB35-9044-883E-BE4CCE627535}" type="presParOf" srcId="{01768E30-7C00-9D46-B106-9803EF77DB72}" destId="{C176592F-E087-B04D-9588-EF6FC2F92869}" srcOrd="1" destOrd="0" presId="urn:microsoft.com/office/officeart/2005/8/layout/orgChart1"/>
    <dgm:cxn modelId="{3DF4A6B0-C5D0-D74E-9861-464D99A85666}" type="presParOf" srcId="{C176592F-E087-B04D-9588-EF6FC2F92869}" destId="{0F5D9B2B-0CE6-4D47-A7B6-80BAEBDC59FC}" srcOrd="0" destOrd="0" presId="urn:microsoft.com/office/officeart/2005/8/layout/orgChart1"/>
    <dgm:cxn modelId="{17CC444B-3CDC-2B44-B7D3-55A3F131D689}" type="presParOf" srcId="{C176592F-E087-B04D-9588-EF6FC2F92869}" destId="{0F65DF5F-EBEB-B343-9794-35C42F4DC89D}" srcOrd="1" destOrd="0" presId="urn:microsoft.com/office/officeart/2005/8/layout/orgChart1"/>
    <dgm:cxn modelId="{B302AA61-5E52-714B-B5EF-1A2CAD0B0C0A}" type="presParOf" srcId="{0F65DF5F-EBEB-B343-9794-35C42F4DC89D}" destId="{D29FBFF0-EB79-0F4F-8C4A-4AF2BBB0A047}" srcOrd="0" destOrd="0" presId="urn:microsoft.com/office/officeart/2005/8/layout/orgChart1"/>
    <dgm:cxn modelId="{5F69F015-188F-9A46-9142-65AD2591C573}" type="presParOf" srcId="{D29FBFF0-EB79-0F4F-8C4A-4AF2BBB0A047}" destId="{91D7ADA8-1475-9349-913E-9C2D53C1D7C9}" srcOrd="0" destOrd="0" presId="urn:microsoft.com/office/officeart/2005/8/layout/orgChart1"/>
    <dgm:cxn modelId="{CDAB585F-CE8E-584F-8B57-3EE81F6D9476}" type="presParOf" srcId="{D29FBFF0-EB79-0F4F-8C4A-4AF2BBB0A047}" destId="{A7DBADC9-C072-5C48-A3E3-552A2F42BAEE}" srcOrd="1" destOrd="0" presId="urn:microsoft.com/office/officeart/2005/8/layout/orgChart1"/>
    <dgm:cxn modelId="{F278923C-AAB2-4144-B10D-BE4F1C3AA9D2}" type="presParOf" srcId="{0F65DF5F-EBEB-B343-9794-35C42F4DC89D}" destId="{69158542-B581-0247-BAE6-60E62584FEB9}" srcOrd="1" destOrd="0" presId="urn:microsoft.com/office/officeart/2005/8/layout/orgChart1"/>
    <dgm:cxn modelId="{BDC655B8-0D9F-224F-A398-DEA6B5F4E28B}" type="presParOf" srcId="{69158542-B581-0247-BAE6-60E62584FEB9}" destId="{44E963F3-2784-9E43-9E90-000EB562AE2A}" srcOrd="0" destOrd="0" presId="urn:microsoft.com/office/officeart/2005/8/layout/orgChart1"/>
    <dgm:cxn modelId="{14179455-0AA1-CE40-9E37-9D0E852290C8}" type="presParOf" srcId="{69158542-B581-0247-BAE6-60E62584FEB9}" destId="{53955494-3838-2F45-BEBB-CE94816E60BA}" srcOrd="1" destOrd="0" presId="urn:microsoft.com/office/officeart/2005/8/layout/orgChart1"/>
    <dgm:cxn modelId="{3E46F730-5DF1-9F4C-8626-166347C1394E}" type="presParOf" srcId="{53955494-3838-2F45-BEBB-CE94816E60BA}" destId="{282371C0-CB9F-F142-BFE4-23129E24152E}" srcOrd="0" destOrd="0" presId="urn:microsoft.com/office/officeart/2005/8/layout/orgChart1"/>
    <dgm:cxn modelId="{B5A381C7-F24A-1544-A421-0FC4C0E4C271}" type="presParOf" srcId="{282371C0-CB9F-F142-BFE4-23129E24152E}" destId="{2ED78204-93EC-064C-823A-1586CD82394C}" srcOrd="0" destOrd="0" presId="urn:microsoft.com/office/officeart/2005/8/layout/orgChart1"/>
    <dgm:cxn modelId="{2CCE37B0-CA74-9942-8BDF-00CC3FA860DE}" type="presParOf" srcId="{282371C0-CB9F-F142-BFE4-23129E24152E}" destId="{36770380-7547-ED48-AB39-E00707E5AE49}" srcOrd="1" destOrd="0" presId="urn:microsoft.com/office/officeart/2005/8/layout/orgChart1"/>
    <dgm:cxn modelId="{55784E31-589F-3245-A9A6-F96C3A64CC48}" type="presParOf" srcId="{53955494-3838-2F45-BEBB-CE94816E60BA}" destId="{7FD810D4-2EE4-0A43-B7CD-AE490DD9C8B4}" srcOrd="1" destOrd="0" presId="urn:microsoft.com/office/officeart/2005/8/layout/orgChart1"/>
    <dgm:cxn modelId="{5A3B0FB2-5976-C843-9E77-9EE3DAEB310C}" type="presParOf" srcId="{53955494-3838-2F45-BEBB-CE94816E60BA}" destId="{A06DA4CD-7588-714E-AB31-0B7105F724FF}" srcOrd="2" destOrd="0" presId="urn:microsoft.com/office/officeart/2005/8/layout/orgChart1"/>
    <dgm:cxn modelId="{7C991BFE-3650-5D48-B403-4C4D4AD8DB72}" type="presParOf" srcId="{69158542-B581-0247-BAE6-60E62584FEB9}" destId="{88E2A4D5-E62D-B048-BDF2-2627D68216CE}" srcOrd="2" destOrd="0" presId="urn:microsoft.com/office/officeart/2005/8/layout/orgChart1"/>
    <dgm:cxn modelId="{157695B4-6563-CF42-A278-9508193DD890}" type="presParOf" srcId="{69158542-B581-0247-BAE6-60E62584FEB9}" destId="{C7C9DA51-6B03-C94F-93CB-D44D3137A8B1}" srcOrd="3" destOrd="0" presId="urn:microsoft.com/office/officeart/2005/8/layout/orgChart1"/>
    <dgm:cxn modelId="{A1FE4980-A84E-7542-962C-8BB3ABCF8AF8}" type="presParOf" srcId="{C7C9DA51-6B03-C94F-93CB-D44D3137A8B1}" destId="{CCCCC64E-4161-4D41-9593-1A4F78C7EF17}" srcOrd="0" destOrd="0" presId="urn:microsoft.com/office/officeart/2005/8/layout/orgChart1"/>
    <dgm:cxn modelId="{784D91C4-FD2E-C148-B9A5-D7FA2D2994EE}" type="presParOf" srcId="{CCCCC64E-4161-4D41-9593-1A4F78C7EF17}" destId="{3B98D480-5A9A-0A4D-8BDC-FE216FA48EE4}" srcOrd="0" destOrd="0" presId="urn:microsoft.com/office/officeart/2005/8/layout/orgChart1"/>
    <dgm:cxn modelId="{7DE533B0-D8FC-0045-894B-993C339C3636}" type="presParOf" srcId="{CCCCC64E-4161-4D41-9593-1A4F78C7EF17}" destId="{CCA6A030-3016-FB4D-BB2D-797B6CA6511F}" srcOrd="1" destOrd="0" presId="urn:microsoft.com/office/officeart/2005/8/layout/orgChart1"/>
    <dgm:cxn modelId="{F526EF7B-F4D8-104A-955B-47B82DB92D98}" type="presParOf" srcId="{C7C9DA51-6B03-C94F-93CB-D44D3137A8B1}" destId="{893D50E5-BFD6-374D-B623-8C8F06D30FB9}" srcOrd="1" destOrd="0" presId="urn:microsoft.com/office/officeart/2005/8/layout/orgChart1"/>
    <dgm:cxn modelId="{5F1A7C01-3398-6D44-8F65-2142C432D117}" type="presParOf" srcId="{C7C9DA51-6B03-C94F-93CB-D44D3137A8B1}" destId="{9A169D03-FEAA-964F-82BE-17DF2B44F83D}" srcOrd="2" destOrd="0" presId="urn:microsoft.com/office/officeart/2005/8/layout/orgChart1"/>
    <dgm:cxn modelId="{990EEDAD-95E6-104E-B1C3-7E6221F2ADEA}" type="presParOf" srcId="{69158542-B581-0247-BAE6-60E62584FEB9}" destId="{CDA8158C-1C6B-024B-9E64-1510DD2C7A55}" srcOrd="4" destOrd="0" presId="urn:microsoft.com/office/officeart/2005/8/layout/orgChart1"/>
    <dgm:cxn modelId="{5AE7E22C-0300-D046-8FBB-7DE9D9AAE3AF}" type="presParOf" srcId="{69158542-B581-0247-BAE6-60E62584FEB9}" destId="{86D1A16A-2EDC-7B49-BDD5-ADA121CED2D3}" srcOrd="5" destOrd="0" presId="urn:microsoft.com/office/officeart/2005/8/layout/orgChart1"/>
    <dgm:cxn modelId="{E75B5463-8153-9242-A6B4-5E0E44F0F1E7}" type="presParOf" srcId="{86D1A16A-2EDC-7B49-BDD5-ADA121CED2D3}" destId="{64FB60A2-29ED-0C42-82BE-AEF32C4DEBD0}" srcOrd="0" destOrd="0" presId="urn:microsoft.com/office/officeart/2005/8/layout/orgChart1"/>
    <dgm:cxn modelId="{753A22C5-EB87-5943-AE15-5A182095A21E}" type="presParOf" srcId="{64FB60A2-29ED-0C42-82BE-AEF32C4DEBD0}" destId="{2C0E0A56-4821-5340-9545-5653DBEF3E82}" srcOrd="0" destOrd="0" presId="urn:microsoft.com/office/officeart/2005/8/layout/orgChart1"/>
    <dgm:cxn modelId="{D2943EF4-4C3B-B945-A721-2FA2001B1E56}" type="presParOf" srcId="{64FB60A2-29ED-0C42-82BE-AEF32C4DEBD0}" destId="{10D8D681-CBDA-D246-9198-063E1F1463D5}" srcOrd="1" destOrd="0" presId="urn:microsoft.com/office/officeart/2005/8/layout/orgChart1"/>
    <dgm:cxn modelId="{2D46B2D7-C9F1-7546-ADA5-34A232E71B1F}" type="presParOf" srcId="{86D1A16A-2EDC-7B49-BDD5-ADA121CED2D3}" destId="{CC9BABF7-5A8C-E043-A639-9D9F60E49EB2}" srcOrd="1" destOrd="0" presId="urn:microsoft.com/office/officeart/2005/8/layout/orgChart1"/>
    <dgm:cxn modelId="{EBC91CBC-BF18-9C48-845A-DD8B64F64423}" type="presParOf" srcId="{86D1A16A-2EDC-7B49-BDD5-ADA121CED2D3}" destId="{CE13E513-7EF6-3C4A-BF03-7E569F8E0EFD}" srcOrd="2" destOrd="0" presId="urn:microsoft.com/office/officeart/2005/8/layout/orgChart1"/>
    <dgm:cxn modelId="{DAF56E09-48D1-484A-A5BF-14AB6089CC9C}" type="presParOf" srcId="{0F65DF5F-EBEB-B343-9794-35C42F4DC89D}" destId="{99494E59-30AF-C84C-8FAD-74D70922C5BB}" srcOrd="2" destOrd="0" presId="urn:microsoft.com/office/officeart/2005/8/layout/orgChart1"/>
    <dgm:cxn modelId="{5AD2E2F9-7D99-264B-9857-442AD3F1B4E0}" type="presParOf" srcId="{C176592F-E087-B04D-9588-EF6FC2F92869}" destId="{6AB3DB73-5383-E944-8E93-5490DBAC07ED}" srcOrd="2" destOrd="0" presId="urn:microsoft.com/office/officeart/2005/8/layout/orgChart1"/>
    <dgm:cxn modelId="{F750C77D-3680-5C4F-ADEC-81B946CA7B8C}" type="presParOf" srcId="{C176592F-E087-B04D-9588-EF6FC2F92869}" destId="{063E0CF9-7144-D34B-96D0-290257049F24}" srcOrd="3" destOrd="0" presId="urn:microsoft.com/office/officeart/2005/8/layout/orgChart1"/>
    <dgm:cxn modelId="{7B5E66CB-1C6D-A54D-A16C-F424BADDCB2C}" type="presParOf" srcId="{063E0CF9-7144-D34B-96D0-290257049F24}" destId="{9D7957A4-BCF4-A64B-9FA8-89318DD7C26C}" srcOrd="0" destOrd="0" presId="urn:microsoft.com/office/officeart/2005/8/layout/orgChart1"/>
    <dgm:cxn modelId="{C73502A8-950D-114B-BDC4-1FCF7CA6F388}" type="presParOf" srcId="{9D7957A4-BCF4-A64B-9FA8-89318DD7C26C}" destId="{6A1B3FF2-4302-AB42-9144-D0C7AF33189D}" srcOrd="0" destOrd="0" presId="urn:microsoft.com/office/officeart/2005/8/layout/orgChart1"/>
    <dgm:cxn modelId="{63D0AE9D-0F8F-374F-9F95-758363126DB5}" type="presParOf" srcId="{9D7957A4-BCF4-A64B-9FA8-89318DD7C26C}" destId="{A8476105-19F1-B646-B233-7DFE7667D28F}" srcOrd="1" destOrd="0" presId="urn:microsoft.com/office/officeart/2005/8/layout/orgChart1"/>
    <dgm:cxn modelId="{0180C99A-0E35-F642-A06E-D14DEDC53A7A}" type="presParOf" srcId="{063E0CF9-7144-D34B-96D0-290257049F24}" destId="{DB85212C-909C-BE4F-9C57-AA092C9F8F68}" srcOrd="1" destOrd="0" presId="urn:microsoft.com/office/officeart/2005/8/layout/orgChart1"/>
    <dgm:cxn modelId="{86861D49-5278-1F40-BB44-72C6EFBDAE57}" type="presParOf" srcId="{DB85212C-909C-BE4F-9C57-AA092C9F8F68}" destId="{FCB70BC6-8BC2-7740-8498-E09039141FAE}" srcOrd="0" destOrd="0" presId="urn:microsoft.com/office/officeart/2005/8/layout/orgChart1"/>
    <dgm:cxn modelId="{3648BC67-7B01-F542-96B3-4A85C77F193F}" type="presParOf" srcId="{DB85212C-909C-BE4F-9C57-AA092C9F8F68}" destId="{8A2CB56E-93D1-874C-81A9-9FAC0DA015D2}" srcOrd="1" destOrd="0" presId="urn:microsoft.com/office/officeart/2005/8/layout/orgChart1"/>
    <dgm:cxn modelId="{292D2B1C-822D-7144-AF2C-8B0388DD4C9E}" type="presParOf" srcId="{8A2CB56E-93D1-874C-81A9-9FAC0DA015D2}" destId="{56803695-D01D-974E-959F-E4FC5996044F}" srcOrd="0" destOrd="0" presId="urn:microsoft.com/office/officeart/2005/8/layout/orgChart1"/>
    <dgm:cxn modelId="{B7D46266-B2AC-BA4E-BAB7-010E399D8462}" type="presParOf" srcId="{56803695-D01D-974E-959F-E4FC5996044F}" destId="{22959F47-69F7-D445-9334-5C7C176A2653}" srcOrd="0" destOrd="0" presId="urn:microsoft.com/office/officeart/2005/8/layout/orgChart1"/>
    <dgm:cxn modelId="{7869306E-BFE5-8144-BC0E-FD6587674918}" type="presParOf" srcId="{56803695-D01D-974E-959F-E4FC5996044F}" destId="{8C060B5F-BBBF-2049-9E6B-A69B2A074D8E}" srcOrd="1" destOrd="0" presId="urn:microsoft.com/office/officeart/2005/8/layout/orgChart1"/>
    <dgm:cxn modelId="{10E0FA02-D91C-1C46-B263-37EEF6828FE8}" type="presParOf" srcId="{8A2CB56E-93D1-874C-81A9-9FAC0DA015D2}" destId="{175F2BE5-9841-E24D-8258-D4DAB9588C96}" srcOrd="1" destOrd="0" presId="urn:microsoft.com/office/officeart/2005/8/layout/orgChart1"/>
    <dgm:cxn modelId="{73065E92-9C99-6140-B3B0-6C3F7FBAF4BE}" type="presParOf" srcId="{8A2CB56E-93D1-874C-81A9-9FAC0DA015D2}" destId="{6C96FA0A-0A57-4A45-A656-B89BDED585EB}" srcOrd="2" destOrd="0" presId="urn:microsoft.com/office/officeart/2005/8/layout/orgChart1"/>
    <dgm:cxn modelId="{4C3F6642-057F-034D-8AAB-558868A9DA4B}" type="presParOf" srcId="{DB85212C-909C-BE4F-9C57-AA092C9F8F68}" destId="{6CD5F04D-881E-FF45-840F-9065F725359E}" srcOrd="2" destOrd="0" presId="urn:microsoft.com/office/officeart/2005/8/layout/orgChart1"/>
    <dgm:cxn modelId="{1AC328B0-D8EF-2647-9972-05470A734395}" type="presParOf" srcId="{DB85212C-909C-BE4F-9C57-AA092C9F8F68}" destId="{EEB1F1F6-A420-3B4D-83C3-44A0874B3872}" srcOrd="3" destOrd="0" presId="urn:microsoft.com/office/officeart/2005/8/layout/orgChart1"/>
    <dgm:cxn modelId="{B19B8919-1002-C54A-9494-E44678838BCE}" type="presParOf" srcId="{EEB1F1F6-A420-3B4D-83C3-44A0874B3872}" destId="{866BA078-C3D3-2F4C-A7CC-2903AAEBC56E}" srcOrd="0" destOrd="0" presId="urn:microsoft.com/office/officeart/2005/8/layout/orgChart1"/>
    <dgm:cxn modelId="{21C3709A-3DAE-9C44-A82F-ECCF00913D6F}" type="presParOf" srcId="{866BA078-C3D3-2F4C-A7CC-2903AAEBC56E}" destId="{35471471-CB84-0746-BDD4-1655B6C5471A}" srcOrd="0" destOrd="0" presId="urn:microsoft.com/office/officeart/2005/8/layout/orgChart1"/>
    <dgm:cxn modelId="{391933DD-3506-214C-9AEF-2638999619C6}" type="presParOf" srcId="{866BA078-C3D3-2F4C-A7CC-2903AAEBC56E}" destId="{BF48F31E-442A-8542-BEC6-8A1283ECC0DC}" srcOrd="1" destOrd="0" presId="urn:microsoft.com/office/officeart/2005/8/layout/orgChart1"/>
    <dgm:cxn modelId="{5802B7E9-5310-744B-B596-AE2E891AC5C7}" type="presParOf" srcId="{EEB1F1F6-A420-3B4D-83C3-44A0874B3872}" destId="{2F554D91-DC1D-3A4B-BD01-7DD0FBADA47A}" srcOrd="1" destOrd="0" presId="urn:microsoft.com/office/officeart/2005/8/layout/orgChart1"/>
    <dgm:cxn modelId="{287A7765-C020-4443-866C-A34E051EF013}" type="presParOf" srcId="{EEB1F1F6-A420-3B4D-83C3-44A0874B3872}" destId="{5C57C97C-2160-274D-A8EF-85D36B4657F0}" srcOrd="2" destOrd="0" presId="urn:microsoft.com/office/officeart/2005/8/layout/orgChart1"/>
    <dgm:cxn modelId="{566DCEB5-6D1F-CD48-884D-0CB168949A62}" type="presParOf" srcId="{DB85212C-909C-BE4F-9C57-AA092C9F8F68}" destId="{2DC6FEB6-D342-A148-B4E4-3574392637D2}" srcOrd="4" destOrd="0" presId="urn:microsoft.com/office/officeart/2005/8/layout/orgChart1"/>
    <dgm:cxn modelId="{6BE82878-BCB6-5241-BA38-46ED69E91D4A}" type="presParOf" srcId="{DB85212C-909C-BE4F-9C57-AA092C9F8F68}" destId="{E7C14A77-D7F1-1E41-9F22-78FC6F14D5DD}" srcOrd="5" destOrd="0" presId="urn:microsoft.com/office/officeart/2005/8/layout/orgChart1"/>
    <dgm:cxn modelId="{456AE47C-B758-F744-8EBC-934D5AE91DE3}" type="presParOf" srcId="{E7C14A77-D7F1-1E41-9F22-78FC6F14D5DD}" destId="{345D217C-C154-0B4F-9496-F18800B28FFF}" srcOrd="0" destOrd="0" presId="urn:microsoft.com/office/officeart/2005/8/layout/orgChart1"/>
    <dgm:cxn modelId="{9C34B5B6-1679-F043-966B-809EDC76F616}" type="presParOf" srcId="{345D217C-C154-0B4F-9496-F18800B28FFF}" destId="{9276651D-6194-EA49-8E09-02C1BFFFA9D5}" srcOrd="0" destOrd="0" presId="urn:microsoft.com/office/officeart/2005/8/layout/orgChart1"/>
    <dgm:cxn modelId="{12ED9D27-FB71-F54D-B95C-7A3A4BE97EE4}" type="presParOf" srcId="{345D217C-C154-0B4F-9496-F18800B28FFF}" destId="{CD5ED238-8A46-9548-AD80-16CB05272A14}" srcOrd="1" destOrd="0" presId="urn:microsoft.com/office/officeart/2005/8/layout/orgChart1"/>
    <dgm:cxn modelId="{98AEB7FB-3F0C-D442-90CF-BD007FEF5804}" type="presParOf" srcId="{E7C14A77-D7F1-1E41-9F22-78FC6F14D5DD}" destId="{BDC06036-AFEF-8F4C-A1E3-0138032EDE75}" srcOrd="1" destOrd="0" presId="urn:microsoft.com/office/officeart/2005/8/layout/orgChart1"/>
    <dgm:cxn modelId="{62CC95C2-B2D4-F94F-9BDA-588B6761B193}" type="presParOf" srcId="{E7C14A77-D7F1-1E41-9F22-78FC6F14D5DD}" destId="{F44A321D-F93F-1847-9AAA-56093CB8396B}" srcOrd="2" destOrd="0" presId="urn:microsoft.com/office/officeart/2005/8/layout/orgChart1"/>
    <dgm:cxn modelId="{E58F0A4A-C9AB-F047-BBF9-14898D22456B}" type="presParOf" srcId="{063E0CF9-7144-D34B-96D0-290257049F24}" destId="{E7AD0A5D-E521-4D48-A5EC-9A4A203AF9D4}" srcOrd="2" destOrd="0" presId="urn:microsoft.com/office/officeart/2005/8/layout/orgChart1"/>
    <dgm:cxn modelId="{8D93E0DA-97F6-D24F-94C0-507326EDF463}" type="presParOf" srcId="{C176592F-E087-B04D-9588-EF6FC2F92869}" destId="{910491EA-604E-6842-9866-DF2E9CD33930}" srcOrd="4" destOrd="0" presId="urn:microsoft.com/office/officeart/2005/8/layout/orgChart1"/>
    <dgm:cxn modelId="{50D2802A-238E-7F4E-916A-68B49B4DD18B}" type="presParOf" srcId="{C176592F-E087-B04D-9588-EF6FC2F92869}" destId="{4F6E76D3-53FC-9B40-84F9-F7C25AED53E4}" srcOrd="5" destOrd="0" presId="urn:microsoft.com/office/officeart/2005/8/layout/orgChart1"/>
    <dgm:cxn modelId="{2AB47532-49C7-454A-81BE-B49B96211C2C}" type="presParOf" srcId="{4F6E76D3-53FC-9B40-84F9-F7C25AED53E4}" destId="{71838188-1DD8-7345-B5E8-F0FD31F9988C}" srcOrd="0" destOrd="0" presId="urn:microsoft.com/office/officeart/2005/8/layout/orgChart1"/>
    <dgm:cxn modelId="{C416E892-3FC6-1B40-9CF1-3C97844993BA}" type="presParOf" srcId="{71838188-1DD8-7345-B5E8-F0FD31F9988C}" destId="{C98D4C05-6DFD-F848-8831-CA53C562EFA9}" srcOrd="0" destOrd="0" presId="urn:microsoft.com/office/officeart/2005/8/layout/orgChart1"/>
    <dgm:cxn modelId="{72B1F18B-B44E-C042-8039-FA4CA68CC514}" type="presParOf" srcId="{71838188-1DD8-7345-B5E8-F0FD31F9988C}" destId="{8249A152-56BE-E046-8A45-0C56C7C1D191}" srcOrd="1" destOrd="0" presId="urn:microsoft.com/office/officeart/2005/8/layout/orgChart1"/>
    <dgm:cxn modelId="{69ED7AD4-DE4A-294D-B81F-400EC01CC1B3}" type="presParOf" srcId="{4F6E76D3-53FC-9B40-84F9-F7C25AED53E4}" destId="{936D50A9-CCB4-4945-945B-85E46E6A9010}" srcOrd="1" destOrd="0" presId="urn:microsoft.com/office/officeart/2005/8/layout/orgChart1"/>
    <dgm:cxn modelId="{D44650F7-C403-0142-BCB4-17653E5CA6C1}" type="presParOf" srcId="{936D50A9-CCB4-4945-945B-85E46E6A9010}" destId="{D62CB30F-6901-594F-8775-B46F34227BC9}" srcOrd="0" destOrd="0" presId="urn:microsoft.com/office/officeart/2005/8/layout/orgChart1"/>
    <dgm:cxn modelId="{40061AEC-8E6B-DB40-AA63-BFC9FA67BF1C}" type="presParOf" srcId="{936D50A9-CCB4-4945-945B-85E46E6A9010}" destId="{2A1E62F8-D51C-B44A-BD70-E6C65A68DCCB}" srcOrd="1" destOrd="0" presId="urn:microsoft.com/office/officeart/2005/8/layout/orgChart1"/>
    <dgm:cxn modelId="{566F51B6-147E-0842-8D5F-3D912E4E3F57}" type="presParOf" srcId="{2A1E62F8-D51C-B44A-BD70-E6C65A68DCCB}" destId="{F9703759-1D98-084A-B066-79D5FA0B0817}" srcOrd="0" destOrd="0" presId="urn:microsoft.com/office/officeart/2005/8/layout/orgChart1"/>
    <dgm:cxn modelId="{D56BC425-7442-084F-AF25-06597C29C21D}" type="presParOf" srcId="{F9703759-1D98-084A-B066-79D5FA0B0817}" destId="{7AAAE15D-9C55-1D43-B8B7-B04F0D48EABD}" srcOrd="0" destOrd="0" presId="urn:microsoft.com/office/officeart/2005/8/layout/orgChart1"/>
    <dgm:cxn modelId="{A927DC7A-702B-FD43-BCAF-1B6379F28C91}" type="presParOf" srcId="{F9703759-1D98-084A-B066-79D5FA0B0817}" destId="{C8CB1346-EB34-094E-8B3A-28042614FB03}" srcOrd="1" destOrd="0" presId="urn:microsoft.com/office/officeart/2005/8/layout/orgChart1"/>
    <dgm:cxn modelId="{74217C16-7821-3346-856A-F9A5287DC324}" type="presParOf" srcId="{2A1E62F8-D51C-B44A-BD70-E6C65A68DCCB}" destId="{C07159A7-2612-CB43-B1EE-FC2609E7E9AD}" srcOrd="1" destOrd="0" presId="urn:microsoft.com/office/officeart/2005/8/layout/orgChart1"/>
    <dgm:cxn modelId="{F29D6DE8-EF49-ED48-AB1F-28AA86ED686E}" type="presParOf" srcId="{2A1E62F8-D51C-B44A-BD70-E6C65A68DCCB}" destId="{B9C12C8A-E3B4-7940-B9D7-DB49D619BCB5}" srcOrd="2" destOrd="0" presId="urn:microsoft.com/office/officeart/2005/8/layout/orgChart1"/>
    <dgm:cxn modelId="{B96495F1-62DA-7547-89BB-E403F37B3B05}" type="presParOf" srcId="{936D50A9-CCB4-4945-945B-85E46E6A9010}" destId="{129F0079-A483-7E48-A321-97C36DBA0475}" srcOrd="2" destOrd="0" presId="urn:microsoft.com/office/officeart/2005/8/layout/orgChart1"/>
    <dgm:cxn modelId="{04F1E162-792F-EA4A-BE92-5F1DA19F80ED}" type="presParOf" srcId="{936D50A9-CCB4-4945-945B-85E46E6A9010}" destId="{505AFEB6-44FD-0948-86B1-1EBBFB7AD6E8}" srcOrd="3" destOrd="0" presId="urn:microsoft.com/office/officeart/2005/8/layout/orgChart1"/>
    <dgm:cxn modelId="{8BBBDD1D-2D61-B647-8C4E-99FB4F5D7B99}" type="presParOf" srcId="{505AFEB6-44FD-0948-86B1-1EBBFB7AD6E8}" destId="{898B3C27-79E5-B94F-AB28-34998FE8B917}" srcOrd="0" destOrd="0" presId="urn:microsoft.com/office/officeart/2005/8/layout/orgChart1"/>
    <dgm:cxn modelId="{0F410790-3E2C-3C43-83B7-B0DE8E318AFC}" type="presParOf" srcId="{898B3C27-79E5-B94F-AB28-34998FE8B917}" destId="{7C50BECD-9391-C544-9079-7DCA06B1B106}" srcOrd="0" destOrd="0" presId="urn:microsoft.com/office/officeart/2005/8/layout/orgChart1"/>
    <dgm:cxn modelId="{F05DC079-C51C-1E4A-8874-E2C26CB9DDA4}" type="presParOf" srcId="{898B3C27-79E5-B94F-AB28-34998FE8B917}" destId="{35D57237-8BFB-E945-A7A7-3C3A20E1DD9C}" srcOrd="1" destOrd="0" presId="urn:microsoft.com/office/officeart/2005/8/layout/orgChart1"/>
    <dgm:cxn modelId="{57C7ED6C-88FC-6748-A2E4-60262516B76E}" type="presParOf" srcId="{505AFEB6-44FD-0948-86B1-1EBBFB7AD6E8}" destId="{9742A4E0-8FBD-7543-97A8-E98A936FD000}" srcOrd="1" destOrd="0" presId="urn:microsoft.com/office/officeart/2005/8/layout/orgChart1"/>
    <dgm:cxn modelId="{262B1F5A-3CB2-8F45-99EA-FB89FA669B8F}" type="presParOf" srcId="{505AFEB6-44FD-0948-86B1-1EBBFB7AD6E8}" destId="{7BE38307-1708-2D4C-8A04-E67A64FA40B2}" srcOrd="2" destOrd="0" presId="urn:microsoft.com/office/officeart/2005/8/layout/orgChart1"/>
    <dgm:cxn modelId="{4C6CE3F7-E5C9-684D-AFF0-A203A7093DDF}" type="presParOf" srcId="{936D50A9-CCB4-4945-945B-85E46E6A9010}" destId="{5030E2EE-B0D1-364F-B6DF-876E246B6AE1}" srcOrd="4" destOrd="0" presId="urn:microsoft.com/office/officeart/2005/8/layout/orgChart1"/>
    <dgm:cxn modelId="{81DA7F45-B6B0-0A4B-AFC6-3D04AB546E2F}" type="presParOf" srcId="{936D50A9-CCB4-4945-945B-85E46E6A9010}" destId="{3BF92A3B-B68B-8F4A-ACDB-61F48235A59F}" srcOrd="5" destOrd="0" presId="urn:microsoft.com/office/officeart/2005/8/layout/orgChart1"/>
    <dgm:cxn modelId="{363618B9-5C2A-A24D-B8BD-3B408F54B76A}" type="presParOf" srcId="{3BF92A3B-B68B-8F4A-ACDB-61F48235A59F}" destId="{B998F742-4147-FB46-B213-304B069DACB0}" srcOrd="0" destOrd="0" presId="urn:microsoft.com/office/officeart/2005/8/layout/orgChart1"/>
    <dgm:cxn modelId="{78145817-0410-9449-B828-09DFF3377F40}" type="presParOf" srcId="{B998F742-4147-FB46-B213-304B069DACB0}" destId="{C8DB6E88-65AB-3947-BF5E-D30F973C203C}" srcOrd="0" destOrd="0" presId="urn:microsoft.com/office/officeart/2005/8/layout/orgChart1"/>
    <dgm:cxn modelId="{A03815F5-82A0-1247-B5B8-B7E83A8007E0}" type="presParOf" srcId="{B998F742-4147-FB46-B213-304B069DACB0}" destId="{62108426-B799-194D-AB78-22283909E5A2}" srcOrd="1" destOrd="0" presId="urn:microsoft.com/office/officeart/2005/8/layout/orgChart1"/>
    <dgm:cxn modelId="{2D8416E2-EC9C-444B-B9AC-7D09CF7BBE73}" type="presParOf" srcId="{3BF92A3B-B68B-8F4A-ACDB-61F48235A59F}" destId="{60AB16CA-A0FA-E548-A598-8F4F677A192B}" srcOrd="1" destOrd="0" presId="urn:microsoft.com/office/officeart/2005/8/layout/orgChart1"/>
    <dgm:cxn modelId="{37593F73-64D5-A04B-B98D-E4FA817C944D}" type="presParOf" srcId="{3BF92A3B-B68B-8F4A-ACDB-61F48235A59F}" destId="{360B2E77-F622-5945-8392-2B887285C669}" srcOrd="2" destOrd="0" presId="urn:microsoft.com/office/officeart/2005/8/layout/orgChart1"/>
    <dgm:cxn modelId="{F63C26D1-31D8-2642-8E08-07FE3DBC31C3}" type="presParOf" srcId="{4F6E76D3-53FC-9B40-84F9-F7C25AED53E4}" destId="{0E88A329-C564-C840-B127-2181CD7549E6}" srcOrd="2" destOrd="0" presId="urn:microsoft.com/office/officeart/2005/8/layout/orgChart1"/>
    <dgm:cxn modelId="{BD1D47DA-17DE-644F-9F8C-8C3F202F04AD}" type="presParOf" srcId="{C176592F-E087-B04D-9588-EF6FC2F92869}" destId="{323D0151-0AF0-7A44-BCE6-C10462839127}" srcOrd="6" destOrd="0" presId="urn:microsoft.com/office/officeart/2005/8/layout/orgChart1"/>
    <dgm:cxn modelId="{7046E1F8-FA81-0445-ABB5-96B57D932E9B}" type="presParOf" srcId="{C176592F-E087-B04D-9588-EF6FC2F92869}" destId="{C0502B14-1B52-7042-ACC0-DA1514170E49}" srcOrd="7" destOrd="0" presId="urn:microsoft.com/office/officeart/2005/8/layout/orgChart1"/>
    <dgm:cxn modelId="{9B3CE99A-4493-FD4F-B2ED-EBDDE5D5EF2D}" type="presParOf" srcId="{C0502B14-1B52-7042-ACC0-DA1514170E49}" destId="{124E14D1-547A-F840-A53B-8C32D7C0E093}" srcOrd="0" destOrd="0" presId="urn:microsoft.com/office/officeart/2005/8/layout/orgChart1"/>
    <dgm:cxn modelId="{CE2C63BE-9E67-A34D-9493-E65E9BBBEC69}" type="presParOf" srcId="{124E14D1-547A-F840-A53B-8C32D7C0E093}" destId="{F63DB975-E825-ED40-9ED5-8EF8047133DC}" srcOrd="0" destOrd="0" presId="urn:microsoft.com/office/officeart/2005/8/layout/orgChart1"/>
    <dgm:cxn modelId="{5BE3D9BC-9D97-6E41-819D-C691EE968197}" type="presParOf" srcId="{124E14D1-547A-F840-A53B-8C32D7C0E093}" destId="{448BE257-6BD3-154B-8455-7442213A9C1F}" srcOrd="1" destOrd="0" presId="urn:microsoft.com/office/officeart/2005/8/layout/orgChart1"/>
    <dgm:cxn modelId="{A3A35AC6-C63E-E947-9BBC-9F84F2294A4D}" type="presParOf" srcId="{C0502B14-1B52-7042-ACC0-DA1514170E49}" destId="{068F8C37-46EE-4847-A292-C25509F10E4F}" srcOrd="1" destOrd="0" presId="urn:microsoft.com/office/officeart/2005/8/layout/orgChart1"/>
    <dgm:cxn modelId="{AD888DDE-AF76-B146-A70E-B70CD0084E11}" type="presParOf" srcId="{068F8C37-46EE-4847-A292-C25509F10E4F}" destId="{7B5B0F12-5DDA-9943-9092-2A10F2FE9601}" srcOrd="0" destOrd="0" presId="urn:microsoft.com/office/officeart/2005/8/layout/orgChart1"/>
    <dgm:cxn modelId="{D8FAABA5-42F4-7B48-B0BA-10825445E70A}" type="presParOf" srcId="{068F8C37-46EE-4847-A292-C25509F10E4F}" destId="{416A776B-95CC-6242-82B8-F3477537D01B}" srcOrd="1" destOrd="0" presId="urn:microsoft.com/office/officeart/2005/8/layout/orgChart1"/>
    <dgm:cxn modelId="{9D2063D7-211B-C748-A280-5720D693BB69}" type="presParOf" srcId="{416A776B-95CC-6242-82B8-F3477537D01B}" destId="{B3872BE2-32B6-FA4E-AD30-FDDA357E030B}" srcOrd="0" destOrd="0" presId="urn:microsoft.com/office/officeart/2005/8/layout/orgChart1"/>
    <dgm:cxn modelId="{7158CB59-E28B-3943-B52C-232773F39BC2}" type="presParOf" srcId="{B3872BE2-32B6-FA4E-AD30-FDDA357E030B}" destId="{BD45870A-B3FE-4649-A1E8-44ABA898ACEB}" srcOrd="0" destOrd="0" presId="urn:microsoft.com/office/officeart/2005/8/layout/orgChart1"/>
    <dgm:cxn modelId="{16FEF0AD-8EA4-1544-BB8B-E449D6CDEFA3}" type="presParOf" srcId="{B3872BE2-32B6-FA4E-AD30-FDDA357E030B}" destId="{6D27B739-9A5A-FE45-BC1E-B91110B18E69}" srcOrd="1" destOrd="0" presId="urn:microsoft.com/office/officeart/2005/8/layout/orgChart1"/>
    <dgm:cxn modelId="{15BCE615-0947-364D-9490-8A90D53F42B2}" type="presParOf" srcId="{416A776B-95CC-6242-82B8-F3477537D01B}" destId="{E0AA5810-09FE-6F49-9E01-C37893D5B99E}" srcOrd="1" destOrd="0" presId="urn:microsoft.com/office/officeart/2005/8/layout/orgChart1"/>
    <dgm:cxn modelId="{21D58A8E-0EB5-E94B-B1A3-122733AA1F3D}" type="presParOf" srcId="{416A776B-95CC-6242-82B8-F3477537D01B}" destId="{67B38412-62E0-F041-A9A6-EEB827EE7287}" srcOrd="2" destOrd="0" presId="urn:microsoft.com/office/officeart/2005/8/layout/orgChart1"/>
    <dgm:cxn modelId="{228EEB92-F6C9-5C4A-BC35-8B9A15AE4858}" type="presParOf" srcId="{068F8C37-46EE-4847-A292-C25509F10E4F}" destId="{4C9BEE53-E580-D245-BCCD-590C85D76065}" srcOrd="2" destOrd="0" presId="urn:microsoft.com/office/officeart/2005/8/layout/orgChart1"/>
    <dgm:cxn modelId="{68C36A11-0E46-354E-BF32-E588A15AA814}" type="presParOf" srcId="{068F8C37-46EE-4847-A292-C25509F10E4F}" destId="{084F8B06-8855-B74B-A705-6E163C44E754}" srcOrd="3" destOrd="0" presId="urn:microsoft.com/office/officeart/2005/8/layout/orgChart1"/>
    <dgm:cxn modelId="{AD468A74-3D92-734E-8B4E-0C572427A7CD}" type="presParOf" srcId="{084F8B06-8855-B74B-A705-6E163C44E754}" destId="{9EA94B24-EF62-6646-8B44-17764E9A462E}" srcOrd="0" destOrd="0" presId="urn:microsoft.com/office/officeart/2005/8/layout/orgChart1"/>
    <dgm:cxn modelId="{F644CDED-179B-DA4C-A7BC-65F2F3C1BE64}" type="presParOf" srcId="{9EA94B24-EF62-6646-8B44-17764E9A462E}" destId="{667C8B84-66F0-D04D-AF88-0F329C747158}" srcOrd="0" destOrd="0" presId="urn:microsoft.com/office/officeart/2005/8/layout/orgChart1"/>
    <dgm:cxn modelId="{62D70C25-A8B3-6D48-AE8F-B81FC9A1143B}" type="presParOf" srcId="{9EA94B24-EF62-6646-8B44-17764E9A462E}" destId="{C032D471-E31D-BF47-90BC-0B75D3183438}" srcOrd="1" destOrd="0" presId="urn:microsoft.com/office/officeart/2005/8/layout/orgChart1"/>
    <dgm:cxn modelId="{5A310073-B41A-A949-BC3B-79E0D2FAC359}" type="presParOf" srcId="{084F8B06-8855-B74B-A705-6E163C44E754}" destId="{50D7A7D7-B247-0241-B930-203B902594B5}" srcOrd="1" destOrd="0" presId="urn:microsoft.com/office/officeart/2005/8/layout/orgChart1"/>
    <dgm:cxn modelId="{DB45B2B4-0B66-4C4A-A5C9-5E9F67A762CE}" type="presParOf" srcId="{084F8B06-8855-B74B-A705-6E163C44E754}" destId="{6067EBE2-5843-6D4C-941B-5FB3692E75F9}" srcOrd="2" destOrd="0" presId="urn:microsoft.com/office/officeart/2005/8/layout/orgChart1"/>
    <dgm:cxn modelId="{5E2703EA-9931-B043-98CA-A91BD198A6FB}" type="presParOf" srcId="{068F8C37-46EE-4847-A292-C25509F10E4F}" destId="{EBF62F60-4DCC-6C46-AE65-EDFFE870F1F4}" srcOrd="4" destOrd="0" presId="urn:microsoft.com/office/officeart/2005/8/layout/orgChart1"/>
    <dgm:cxn modelId="{62CA1126-0263-1046-AB37-C950A394542D}" type="presParOf" srcId="{068F8C37-46EE-4847-A292-C25509F10E4F}" destId="{93533B26-364F-014E-A891-6D8442BBCE18}" srcOrd="5" destOrd="0" presId="urn:microsoft.com/office/officeart/2005/8/layout/orgChart1"/>
    <dgm:cxn modelId="{E4A72659-E0DA-6D4C-B971-E0DB63240FDB}" type="presParOf" srcId="{93533B26-364F-014E-A891-6D8442BBCE18}" destId="{DB4AF111-B912-8448-ABAC-05FC566DF87E}" srcOrd="0" destOrd="0" presId="urn:microsoft.com/office/officeart/2005/8/layout/orgChart1"/>
    <dgm:cxn modelId="{18DB4362-41D5-5744-B1D5-7B3533DB1418}" type="presParOf" srcId="{DB4AF111-B912-8448-ABAC-05FC566DF87E}" destId="{0B86221D-B7E4-B74C-ACB9-8C43A9AE47F7}" srcOrd="0" destOrd="0" presId="urn:microsoft.com/office/officeart/2005/8/layout/orgChart1"/>
    <dgm:cxn modelId="{7A128D32-E20E-DC40-B25F-A5E1DE1B781F}" type="presParOf" srcId="{DB4AF111-B912-8448-ABAC-05FC566DF87E}" destId="{B9CC71A5-3834-534E-9ECE-601DD70734B2}" srcOrd="1" destOrd="0" presId="urn:microsoft.com/office/officeart/2005/8/layout/orgChart1"/>
    <dgm:cxn modelId="{44AFA64E-0B4D-E246-8DFF-6D2FCF4A0895}" type="presParOf" srcId="{93533B26-364F-014E-A891-6D8442BBCE18}" destId="{22A0A11E-34BD-0442-BCA0-44161B492947}" srcOrd="1" destOrd="0" presId="urn:microsoft.com/office/officeart/2005/8/layout/orgChart1"/>
    <dgm:cxn modelId="{93857792-4431-CB49-B0AB-0035345F5274}" type="presParOf" srcId="{93533B26-364F-014E-A891-6D8442BBCE18}" destId="{A1799FD4-5B2F-1C41-B7C0-8BBFCD6F98DD}" srcOrd="2" destOrd="0" presId="urn:microsoft.com/office/officeart/2005/8/layout/orgChart1"/>
    <dgm:cxn modelId="{52CDEA47-BFC6-D04F-878F-9C6B411F9FD4}" type="presParOf" srcId="{C0502B14-1B52-7042-ACC0-DA1514170E49}" destId="{9E34D8F1-0307-C841-BE9B-4EB460341C22}" srcOrd="2" destOrd="0" presId="urn:microsoft.com/office/officeart/2005/8/layout/orgChart1"/>
    <dgm:cxn modelId="{F9B23EF0-6C9E-FE4A-9C35-BF076A2C613E}" type="presParOf" srcId="{C176592F-E087-B04D-9588-EF6FC2F92869}" destId="{1480E8B4-F1B6-8246-9806-7D2D0CB68815}" srcOrd="8" destOrd="0" presId="urn:microsoft.com/office/officeart/2005/8/layout/orgChart1"/>
    <dgm:cxn modelId="{E3C49F48-C13F-8A48-937F-244C030553EE}" type="presParOf" srcId="{C176592F-E087-B04D-9588-EF6FC2F92869}" destId="{38784AEE-09B7-0C47-8227-D02D0F1EDC40}" srcOrd="9" destOrd="0" presId="urn:microsoft.com/office/officeart/2005/8/layout/orgChart1"/>
    <dgm:cxn modelId="{4AB24A07-A886-AF4A-84E6-CF2A35EC845C}" type="presParOf" srcId="{38784AEE-09B7-0C47-8227-D02D0F1EDC40}" destId="{1B5211C4-1365-1640-A178-1D467A02D08A}" srcOrd="0" destOrd="0" presId="urn:microsoft.com/office/officeart/2005/8/layout/orgChart1"/>
    <dgm:cxn modelId="{78F54E58-5772-6745-8FB0-DA3559587888}" type="presParOf" srcId="{1B5211C4-1365-1640-A178-1D467A02D08A}" destId="{572E3CDC-5D66-514E-8912-D04551846EC7}" srcOrd="0" destOrd="0" presId="urn:microsoft.com/office/officeart/2005/8/layout/orgChart1"/>
    <dgm:cxn modelId="{CD7C0E32-C1E0-B04B-AF96-DFFD913F2ED5}" type="presParOf" srcId="{1B5211C4-1365-1640-A178-1D467A02D08A}" destId="{64829248-69CA-0B4E-875C-600221CC892E}" srcOrd="1" destOrd="0" presId="urn:microsoft.com/office/officeart/2005/8/layout/orgChart1"/>
    <dgm:cxn modelId="{B3B55BB5-6083-234B-B45E-2DEF34B9549B}" type="presParOf" srcId="{38784AEE-09B7-0C47-8227-D02D0F1EDC40}" destId="{EB7C6A82-1BAB-C84F-ABFF-4175D1E01329}" srcOrd="1" destOrd="0" presId="urn:microsoft.com/office/officeart/2005/8/layout/orgChart1"/>
    <dgm:cxn modelId="{D63DAEA3-5302-244B-B504-21D51553A469}" type="presParOf" srcId="{EB7C6A82-1BAB-C84F-ABFF-4175D1E01329}" destId="{44F6E45F-C07E-304C-AB67-8E8552A42778}" srcOrd="0" destOrd="0" presId="urn:microsoft.com/office/officeart/2005/8/layout/orgChart1"/>
    <dgm:cxn modelId="{FB395F43-DABD-134D-B785-A600572429EB}" type="presParOf" srcId="{EB7C6A82-1BAB-C84F-ABFF-4175D1E01329}" destId="{2208A308-1D10-494E-B09E-F544AF8068C3}" srcOrd="1" destOrd="0" presId="urn:microsoft.com/office/officeart/2005/8/layout/orgChart1"/>
    <dgm:cxn modelId="{15F4F296-1814-BA48-A707-FFCEF5AFCAB2}" type="presParOf" srcId="{2208A308-1D10-494E-B09E-F544AF8068C3}" destId="{52F1A2B4-5B26-7844-A417-F9A302DD4377}" srcOrd="0" destOrd="0" presId="urn:microsoft.com/office/officeart/2005/8/layout/orgChart1"/>
    <dgm:cxn modelId="{B86904FD-7B65-D440-832F-5D7765097F4A}" type="presParOf" srcId="{52F1A2B4-5B26-7844-A417-F9A302DD4377}" destId="{312925C6-1321-8C4D-8ECE-565EBD85AA53}" srcOrd="0" destOrd="0" presId="urn:microsoft.com/office/officeart/2005/8/layout/orgChart1"/>
    <dgm:cxn modelId="{649D4333-CEB3-A846-9086-ABA608D5361C}" type="presParOf" srcId="{52F1A2B4-5B26-7844-A417-F9A302DD4377}" destId="{51242648-056D-864F-A823-CF2B10E36DC5}" srcOrd="1" destOrd="0" presId="urn:microsoft.com/office/officeart/2005/8/layout/orgChart1"/>
    <dgm:cxn modelId="{73E201CF-73FC-184B-BE4E-7B1AAA6D7C35}" type="presParOf" srcId="{2208A308-1D10-494E-B09E-F544AF8068C3}" destId="{101F8E47-0BE7-944C-B421-13AA797AD0FE}" srcOrd="1" destOrd="0" presId="urn:microsoft.com/office/officeart/2005/8/layout/orgChart1"/>
    <dgm:cxn modelId="{946A82B1-2B52-C54F-8D76-E12572839453}" type="presParOf" srcId="{2208A308-1D10-494E-B09E-F544AF8068C3}" destId="{63EE6A4D-0BB5-9F46-BC36-0F3CE16A1208}" srcOrd="2" destOrd="0" presId="urn:microsoft.com/office/officeart/2005/8/layout/orgChart1"/>
    <dgm:cxn modelId="{27BAC6C8-47AF-6246-9181-A11D75760433}" type="presParOf" srcId="{EB7C6A82-1BAB-C84F-ABFF-4175D1E01329}" destId="{6440B106-7C72-9547-AE5A-A590A6A7292B}" srcOrd="2" destOrd="0" presId="urn:microsoft.com/office/officeart/2005/8/layout/orgChart1"/>
    <dgm:cxn modelId="{9956C8EF-7C81-BD47-8028-651FA783BE2C}" type="presParOf" srcId="{EB7C6A82-1BAB-C84F-ABFF-4175D1E01329}" destId="{BAC73BF8-8458-2342-9ECA-03ADDC1723E5}" srcOrd="3" destOrd="0" presId="urn:microsoft.com/office/officeart/2005/8/layout/orgChart1"/>
    <dgm:cxn modelId="{987B629B-D1CE-5F43-9D95-C33C933684F9}" type="presParOf" srcId="{BAC73BF8-8458-2342-9ECA-03ADDC1723E5}" destId="{0C073428-45A6-A444-B614-5DE374C411EB}" srcOrd="0" destOrd="0" presId="urn:microsoft.com/office/officeart/2005/8/layout/orgChart1"/>
    <dgm:cxn modelId="{2B2EADDA-7CB3-A24B-8955-AF6B82BD318A}" type="presParOf" srcId="{0C073428-45A6-A444-B614-5DE374C411EB}" destId="{96DE10DD-2A27-1E4E-A6B9-8640BCC5A191}" srcOrd="0" destOrd="0" presId="urn:microsoft.com/office/officeart/2005/8/layout/orgChart1"/>
    <dgm:cxn modelId="{3D7174BF-3CBA-5E45-829D-6929143EB00C}" type="presParOf" srcId="{0C073428-45A6-A444-B614-5DE374C411EB}" destId="{8F158EFB-F898-3C42-9661-FD99398859DA}" srcOrd="1" destOrd="0" presId="urn:microsoft.com/office/officeart/2005/8/layout/orgChart1"/>
    <dgm:cxn modelId="{5558805E-FB57-F842-95DE-B02956758569}" type="presParOf" srcId="{BAC73BF8-8458-2342-9ECA-03ADDC1723E5}" destId="{115DEFFC-01B6-BC42-A789-F0A80147F2CC}" srcOrd="1" destOrd="0" presId="urn:microsoft.com/office/officeart/2005/8/layout/orgChart1"/>
    <dgm:cxn modelId="{C29F3A66-04C1-EA47-BAF3-96FEE5BACA3A}" type="presParOf" srcId="{BAC73BF8-8458-2342-9ECA-03ADDC1723E5}" destId="{B17F80B3-A6DC-D645-A595-41D80D4CE969}" srcOrd="2" destOrd="0" presId="urn:microsoft.com/office/officeart/2005/8/layout/orgChart1"/>
    <dgm:cxn modelId="{ECE3D4C1-F8F5-3D42-8BE8-69F5BBF9298D}" type="presParOf" srcId="{EB7C6A82-1BAB-C84F-ABFF-4175D1E01329}" destId="{65969C0C-C4EF-8044-B112-A2052B5FA261}" srcOrd="4" destOrd="0" presId="urn:microsoft.com/office/officeart/2005/8/layout/orgChart1"/>
    <dgm:cxn modelId="{57C102BD-CB24-A448-9BBF-FFD41DD346B6}" type="presParOf" srcId="{EB7C6A82-1BAB-C84F-ABFF-4175D1E01329}" destId="{15CB5C64-C278-794E-82CF-052985D0BE92}" srcOrd="5" destOrd="0" presId="urn:microsoft.com/office/officeart/2005/8/layout/orgChart1"/>
    <dgm:cxn modelId="{827604E2-DCD0-5140-A307-0310105FD5F0}" type="presParOf" srcId="{15CB5C64-C278-794E-82CF-052985D0BE92}" destId="{BA365489-556A-C940-A00F-72AECC305955}" srcOrd="0" destOrd="0" presId="urn:microsoft.com/office/officeart/2005/8/layout/orgChart1"/>
    <dgm:cxn modelId="{11B84477-6188-014F-B0DF-80F239DAFE2B}" type="presParOf" srcId="{BA365489-556A-C940-A00F-72AECC305955}" destId="{210923D2-AC03-0946-B698-462DDD0B6542}" srcOrd="0" destOrd="0" presId="urn:microsoft.com/office/officeart/2005/8/layout/orgChart1"/>
    <dgm:cxn modelId="{9A0B0FAB-E1F2-3646-9471-C0F5135D9DA3}" type="presParOf" srcId="{BA365489-556A-C940-A00F-72AECC305955}" destId="{2CA7FC21-BB86-E144-A530-0AA3F7C11ADE}" srcOrd="1" destOrd="0" presId="urn:microsoft.com/office/officeart/2005/8/layout/orgChart1"/>
    <dgm:cxn modelId="{A484FF8F-149D-664D-9B7C-0492C425B187}" type="presParOf" srcId="{15CB5C64-C278-794E-82CF-052985D0BE92}" destId="{AB10E984-B840-EA4C-B0FD-663FD1FBE1EE}" srcOrd="1" destOrd="0" presId="urn:microsoft.com/office/officeart/2005/8/layout/orgChart1"/>
    <dgm:cxn modelId="{9C4935AA-97D0-4F4A-84F1-40032919E171}" type="presParOf" srcId="{15CB5C64-C278-794E-82CF-052985D0BE92}" destId="{A0B7D572-0CBF-904A-8189-72905D552A09}" srcOrd="2" destOrd="0" presId="urn:microsoft.com/office/officeart/2005/8/layout/orgChart1"/>
    <dgm:cxn modelId="{61969949-5095-4945-8AF1-5A497E29A177}" type="presParOf" srcId="{38784AEE-09B7-0C47-8227-D02D0F1EDC40}" destId="{0D4ABEBA-7F67-174B-9D14-25EB0F873638}" srcOrd="2" destOrd="0" presId="urn:microsoft.com/office/officeart/2005/8/layout/orgChart1"/>
    <dgm:cxn modelId="{7FBA7B35-41ED-0648-94C7-0183FE804CE4}" type="presParOf" srcId="{C176592F-E087-B04D-9588-EF6FC2F92869}" destId="{FD0BC2B8-08A5-504D-8B97-A8DFE6F2353D}" srcOrd="10" destOrd="0" presId="urn:microsoft.com/office/officeart/2005/8/layout/orgChart1"/>
    <dgm:cxn modelId="{0D5DB65D-ACBF-7542-B2BE-9286EE177800}" type="presParOf" srcId="{C176592F-E087-B04D-9588-EF6FC2F92869}" destId="{4D65A84D-8A4B-FF46-8FC4-DF9823B8C901}" srcOrd="11" destOrd="0" presId="urn:microsoft.com/office/officeart/2005/8/layout/orgChart1"/>
    <dgm:cxn modelId="{900CF683-897A-714E-AA5A-9B95896160F4}" type="presParOf" srcId="{4D65A84D-8A4B-FF46-8FC4-DF9823B8C901}" destId="{03C01BD0-EEC3-1044-9FF9-FA46EBEE4A5A}" srcOrd="0" destOrd="0" presId="urn:microsoft.com/office/officeart/2005/8/layout/orgChart1"/>
    <dgm:cxn modelId="{7DA9685C-5ADC-DA41-A4BD-B33059D05123}" type="presParOf" srcId="{03C01BD0-EEC3-1044-9FF9-FA46EBEE4A5A}" destId="{0FE69002-AB56-3740-A6BE-C29542137A47}" srcOrd="0" destOrd="0" presId="urn:microsoft.com/office/officeart/2005/8/layout/orgChart1"/>
    <dgm:cxn modelId="{243AA20F-895C-DC47-B838-D39B9148FA59}" type="presParOf" srcId="{03C01BD0-EEC3-1044-9FF9-FA46EBEE4A5A}" destId="{78596C7B-EEAE-2041-808D-BB85B551442B}" srcOrd="1" destOrd="0" presId="urn:microsoft.com/office/officeart/2005/8/layout/orgChart1"/>
    <dgm:cxn modelId="{80D31284-7BD0-C14D-9CB5-AA3AEE520D8F}" type="presParOf" srcId="{4D65A84D-8A4B-FF46-8FC4-DF9823B8C901}" destId="{5D17771E-4B1E-524B-BB1A-B729F8A623F9}" srcOrd="1" destOrd="0" presId="urn:microsoft.com/office/officeart/2005/8/layout/orgChart1"/>
    <dgm:cxn modelId="{26940231-8FC4-ED40-93D8-705377CD6677}" type="presParOf" srcId="{5D17771E-4B1E-524B-BB1A-B729F8A623F9}" destId="{18EACF5C-66CA-3E4D-8C5C-FF5941FDB285}" srcOrd="0" destOrd="0" presId="urn:microsoft.com/office/officeart/2005/8/layout/orgChart1"/>
    <dgm:cxn modelId="{093091E6-B1FB-9E4D-A3C3-4BBBCCDB689E}" type="presParOf" srcId="{5D17771E-4B1E-524B-BB1A-B729F8A623F9}" destId="{6C7DB993-CCDC-324F-8775-E1F06DD4FFD7}" srcOrd="1" destOrd="0" presId="urn:microsoft.com/office/officeart/2005/8/layout/orgChart1"/>
    <dgm:cxn modelId="{4110A997-1BFC-E24A-BDB7-73D4CF5EAC41}" type="presParOf" srcId="{6C7DB993-CCDC-324F-8775-E1F06DD4FFD7}" destId="{D4DA819A-9F1A-9344-ADAA-3A8DDECA6851}" srcOrd="0" destOrd="0" presId="urn:microsoft.com/office/officeart/2005/8/layout/orgChart1"/>
    <dgm:cxn modelId="{8D6A85B4-5DD0-044A-B58C-336095B7A612}" type="presParOf" srcId="{D4DA819A-9F1A-9344-ADAA-3A8DDECA6851}" destId="{3F382FC2-12CB-D943-89ED-75CADBE6B2B9}" srcOrd="0" destOrd="0" presId="urn:microsoft.com/office/officeart/2005/8/layout/orgChart1"/>
    <dgm:cxn modelId="{158ED75E-68E1-BE4C-9125-6CB5788CFE90}" type="presParOf" srcId="{D4DA819A-9F1A-9344-ADAA-3A8DDECA6851}" destId="{A9018DA5-07A6-1047-8906-D5CEBD268137}" srcOrd="1" destOrd="0" presId="urn:microsoft.com/office/officeart/2005/8/layout/orgChart1"/>
    <dgm:cxn modelId="{0F08B9CC-FA41-3D4A-8581-DD42F56BBE98}" type="presParOf" srcId="{6C7DB993-CCDC-324F-8775-E1F06DD4FFD7}" destId="{B5813A8B-06F6-9048-B681-BC00AA738FE4}" srcOrd="1" destOrd="0" presId="urn:microsoft.com/office/officeart/2005/8/layout/orgChart1"/>
    <dgm:cxn modelId="{C8615F2C-952E-CC48-A21C-706B2915A85E}" type="presParOf" srcId="{6C7DB993-CCDC-324F-8775-E1F06DD4FFD7}" destId="{95C46E87-2E48-C342-A249-297A911EA1BF}" srcOrd="2" destOrd="0" presId="urn:microsoft.com/office/officeart/2005/8/layout/orgChart1"/>
    <dgm:cxn modelId="{CCCB7A33-2791-1245-B1A6-CCDF848568ED}" type="presParOf" srcId="{5D17771E-4B1E-524B-BB1A-B729F8A623F9}" destId="{CE80B93D-D000-8B4B-8100-E0B67DB0E877}" srcOrd="2" destOrd="0" presId="urn:microsoft.com/office/officeart/2005/8/layout/orgChart1"/>
    <dgm:cxn modelId="{98BD08E1-1D9C-C74C-A7D9-E0208A8B72E1}" type="presParOf" srcId="{5D17771E-4B1E-524B-BB1A-B729F8A623F9}" destId="{135F96AC-C0EB-DF47-A8C8-A7B4CD21E5E7}" srcOrd="3" destOrd="0" presId="urn:microsoft.com/office/officeart/2005/8/layout/orgChart1"/>
    <dgm:cxn modelId="{B3AB21B1-1E3D-DE4C-BA6F-F716446BEC85}" type="presParOf" srcId="{135F96AC-C0EB-DF47-A8C8-A7B4CD21E5E7}" destId="{211E14D2-36F3-F344-B001-DAEE9207C99A}" srcOrd="0" destOrd="0" presId="urn:microsoft.com/office/officeart/2005/8/layout/orgChart1"/>
    <dgm:cxn modelId="{A0BE0AFC-F374-364F-BFD6-A6C74C1189C2}" type="presParOf" srcId="{211E14D2-36F3-F344-B001-DAEE9207C99A}" destId="{EA99EEAC-15F9-BB4A-A17F-8DF66EAF1CDC}" srcOrd="0" destOrd="0" presId="urn:microsoft.com/office/officeart/2005/8/layout/orgChart1"/>
    <dgm:cxn modelId="{CB3E509E-C9C4-D24C-9F7C-AF0169034D6B}" type="presParOf" srcId="{211E14D2-36F3-F344-B001-DAEE9207C99A}" destId="{AF27EFD7-AEE3-5142-9BFD-36D0D1B36002}" srcOrd="1" destOrd="0" presId="urn:microsoft.com/office/officeart/2005/8/layout/orgChart1"/>
    <dgm:cxn modelId="{178C7434-71FE-D34F-A860-FC62BCD1FB67}" type="presParOf" srcId="{135F96AC-C0EB-DF47-A8C8-A7B4CD21E5E7}" destId="{9C8E7226-45B7-4C4E-9BE3-277B0CB35A46}" srcOrd="1" destOrd="0" presId="urn:microsoft.com/office/officeart/2005/8/layout/orgChart1"/>
    <dgm:cxn modelId="{6AA55769-54B0-F148-968C-2D2D0B611C24}" type="presParOf" srcId="{135F96AC-C0EB-DF47-A8C8-A7B4CD21E5E7}" destId="{B654A497-F541-7549-BE0E-498FA6C82A50}" srcOrd="2" destOrd="0" presId="urn:microsoft.com/office/officeart/2005/8/layout/orgChart1"/>
    <dgm:cxn modelId="{260DAC41-2D85-1448-A506-84C4233CF182}" type="presParOf" srcId="{5D17771E-4B1E-524B-BB1A-B729F8A623F9}" destId="{EE101F31-B493-FC4F-BA98-4DA93A046699}" srcOrd="4" destOrd="0" presId="urn:microsoft.com/office/officeart/2005/8/layout/orgChart1"/>
    <dgm:cxn modelId="{F8FA1D4C-825C-854C-BFEF-3D16764DC508}" type="presParOf" srcId="{5D17771E-4B1E-524B-BB1A-B729F8A623F9}" destId="{743FC97E-EDF8-8440-9167-2FF59851F03F}" srcOrd="5" destOrd="0" presId="urn:microsoft.com/office/officeart/2005/8/layout/orgChart1"/>
    <dgm:cxn modelId="{B23F4147-FC2B-D540-9E1B-3FD766C4A638}" type="presParOf" srcId="{743FC97E-EDF8-8440-9167-2FF59851F03F}" destId="{72E8E29A-9051-694D-A417-CE6EE9089A15}" srcOrd="0" destOrd="0" presId="urn:microsoft.com/office/officeart/2005/8/layout/orgChart1"/>
    <dgm:cxn modelId="{0E97ADC4-65AF-C741-8902-69BA63BED1C9}" type="presParOf" srcId="{72E8E29A-9051-694D-A417-CE6EE9089A15}" destId="{72D53164-9DF1-584A-A8A9-A81741EC7864}" srcOrd="0" destOrd="0" presId="urn:microsoft.com/office/officeart/2005/8/layout/orgChart1"/>
    <dgm:cxn modelId="{09EED156-6532-3147-84F8-3F2B3B88FBBD}" type="presParOf" srcId="{72E8E29A-9051-694D-A417-CE6EE9089A15}" destId="{5108E4B9-C933-084B-87BD-17BA21FAC394}" srcOrd="1" destOrd="0" presId="urn:microsoft.com/office/officeart/2005/8/layout/orgChart1"/>
    <dgm:cxn modelId="{A898DC07-240B-4947-8D84-A56678E38A42}" type="presParOf" srcId="{743FC97E-EDF8-8440-9167-2FF59851F03F}" destId="{649410E7-1B76-0045-8BBB-B901D379D30D}" srcOrd="1" destOrd="0" presId="urn:microsoft.com/office/officeart/2005/8/layout/orgChart1"/>
    <dgm:cxn modelId="{64839C57-CB5E-C34C-8A65-7C1E8ABA3245}" type="presParOf" srcId="{743FC97E-EDF8-8440-9167-2FF59851F03F}" destId="{71FE410D-3141-9A4F-B3B0-E72482DDAA9E}" srcOrd="2" destOrd="0" presId="urn:microsoft.com/office/officeart/2005/8/layout/orgChart1"/>
    <dgm:cxn modelId="{790A6CA8-23A0-9142-93A5-07C368DBE63C}" type="presParOf" srcId="{4D65A84D-8A4B-FF46-8FC4-DF9823B8C901}" destId="{563039BE-2DC6-AF4D-A183-8E60493152DD}" srcOrd="2" destOrd="0" presId="urn:microsoft.com/office/officeart/2005/8/layout/orgChart1"/>
    <dgm:cxn modelId="{31DCD078-028C-9C44-A7E2-201D90395865}" type="presParOf" srcId="{01768E30-7C00-9D46-B106-9803EF77DB72}" destId="{42EF44E0-7DBD-CF4E-9797-0AB81CD9C8EC}" srcOrd="2" destOrd="0" presId="urn:microsoft.com/office/officeart/2005/8/layout/orgChar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AF3357FD-18B0-1644-966C-BCE3778B58DD}" type="doc">
      <dgm:prSet loTypeId="urn:microsoft.com/office/officeart/2005/8/layout/orgChart1" loCatId="" qsTypeId="urn:microsoft.com/office/officeart/2005/8/quickstyle/simple2" qsCatId="simple" csTypeId="urn:microsoft.com/office/officeart/2005/8/colors/accent1_2" csCatId="accent1" phldr="1"/>
      <dgm:spPr/>
      <dgm:t>
        <a:bodyPr/>
        <a:lstStyle/>
        <a:p>
          <a:endParaRPr lang="en-US"/>
        </a:p>
      </dgm:t>
    </dgm:pt>
    <dgm:pt modelId="{25517EF2-3665-EB4B-9D7F-2C037C685C4E}">
      <dgm:prSet phldrT="[Text]"/>
      <dgm:spPr>
        <a:solidFill>
          <a:schemeClr val="accent1">
            <a:lumMod val="5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Cart Checkout Rate</a:t>
          </a:r>
          <a:endParaRPr lang="en-US" b="1" dirty="0"/>
        </a:p>
      </dgm:t>
    </dgm:pt>
    <dgm:pt modelId="{D1D1E974-9AD9-1A42-A6F6-F902A49BDCFF}" type="parTrans" cxnId="{B00A64FC-E62B-0B48-B010-0717DFBC827A}">
      <dgm:prSet/>
      <dgm:spPr/>
      <dgm:t>
        <a:bodyPr/>
        <a:lstStyle/>
        <a:p>
          <a:endParaRPr lang="en-US"/>
        </a:p>
      </dgm:t>
    </dgm:pt>
    <dgm:pt modelId="{56D907EF-C84C-3B48-8C95-0AE5C1659474}" type="sibTrans" cxnId="{B00A64FC-E62B-0B48-B010-0717DFBC827A}">
      <dgm:prSet/>
      <dgm:spPr/>
      <dgm:t>
        <a:bodyPr/>
        <a:lstStyle/>
        <a:p>
          <a:endParaRPr lang="en-US"/>
        </a:p>
      </dgm:t>
    </dgm:pt>
    <dgm:pt modelId="{4B26847B-222F-E04F-B93F-7958496DA65C}">
      <dgm:prSet phldrT="[Text]"/>
      <dgm:spPr>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Simplifying decision making</a:t>
          </a:r>
          <a:endParaRPr lang="en-US" b="1" dirty="0">
            <a:effectLst>
              <a:outerShdw blurRad="50800" dist="38100" dir="2700000" algn="tl" rotWithShape="0">
                <a:prstClr val="black">
                  <a:alpha val="40000"/>
                </a:prstClr>
              </a:outerShdw>
            </a:effectLst>
          </a:endParaRPr>
        </a:p>
      </dgm:t>
    </dgm:pt>
    <dgm:pt modelId="{07AFA923-B56F-0042-B585-5B06F0FA0896}" type="parTrans" cxnId="{8F920AE9-1886-AC40-A98C-863F5AB3ABB2}">
      <dgm:prSet/>
      <dgm:spPr/>
      <dgm:t>
        <a:bodyPr/>
        <a:lstStyle/>
        <a:p>
          <a:endParaRPr lang="en-US"/>
        </a:p>
      </dgm:t>
    </dgm:pt>
    <dgm:pt modelId="{EF2C2E1F-9C59-4E44-9BFF-B9B74523D935}" type="sibTrans" cxnId="{8F920AE9-1886-AC40-A98C-863F5AB3ABB2}">
      <dgm:prSet/>
      <dgm:spPr/>
      <dgm:t>
        <a:bodyPr/>
        <a:lstStyle/>
        <a:p>
          <a:endParaRPr lang="en-US"/>
        </a:p>
      </dgm:t>
    </dgm:pt>
    <dgm:pt modelId="{50B35D2E-59F3-7346-A146-7B84569A5183}">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Addressing questions / concerns</a:t>
          </a:r>
          <a:endParaRPr lang="en-US" b="1" dirty="0">
            <a:effectLst>
              <a:outerShdw blurRad="50800" dist="38100" dir="2700000" algn="tl" rotWithShape="0">
                <a:prstClr val="black">
                  <a:alpha val="40000"/>
                </a:prstClr>
              </a:outerShdw>
            </a:effectLst>
          </a:endParaRPr>
        </a:p>
      </dgm:t>
    </dgm:pt>
    <dgm:pt modelId="{33424807-C11D-7C4A-85E7-BB0E19ACD352}" type="parTrans" cxnId="{A3DEF5DD-4DA5-064F-9A64-A11BE283B5FA}">
      <dgm:prSet/>
      <dgm:spPr/>
      <dgm:t>
        <a:bodyPr/>
        <a:lstStyle/>
        <a:p>
          <a:endParaRPr lang="en-US"/>
        </a:p>
      </dgm:t>
    </dgm:pt>
    <dgm:pt modelId="{FD010288-FF0D-2D49-A5AC-435BA24A2550}" type="sibTrans" cxnId="{A3DEF5DD-4DA5-064F-9A64-A11BE283B5FA}">
      <dgm:prSet/>
      <dgm:spPr/>
      <dgm:t>
        <a:bodyPr/>
        <a:lstStyle/>
        <a:p>
          <a:endParaRPr lang="en-US"/>
        </a:p>
      </dgm:t>
    </dgm:pt>
    <dgm:pt modelId="{C6588B98-FB28-334E-BDCA-56820ACB0569}">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Reduce pressure of the decision</a:t>
          </a:r>
          <a:endParaRPr lang="en-US" b="1" dirty="0">
            <a:effectLst>
              <a:outerShdw blurRad="50800" dist="38100" dir="2700000" algn="tl" rotWithShape="0">
                <a:prstClr val="black">
                  <a:alpha val="40000"/>
                </a:prstClr>
              </a:outerShdw>
            </a:effectLst>
          </a:endParaRPr>
        </a:p>
      </dgm:t>
    </dgm:pt>
    <dgm:pt modelId="{3B5A4386-A293-8747-A207-2A8D5CABEA7A}" type="parTrans" cxnId="{E04C6730-3FFD-5D4B-985C-9C0A77B05039}">
      <dgm:prSet/>
      <dgm:spPr/>
      <dgm:t>
        <a:bodyPr/>
        <a:lstStyle/>
        <a:p>
          <a:endParaRPr lang="en-US"/>
        </a:p>
      </dgm:t>
    </dgm:pt>
    <dgm:pt modelId="{1DAD777C-69EB-524E-B685-59D1A2C22C8E}" type="sibTrans" cxnId="{E04C6730-3FFD-5D4B-985C-9C0A77B05039}">
      <dgm:prSet/>
      <dgm:spPr/>
      <dgm:t>
        <a:bodyPr/>
        <a:lstStyle/>
        <a:p>
          <a:endParaRPr lang="en-US"/>
        </a:p>
      </dgm:t>
    </dgm:pt>
    <dgm:pt modelId="{C70D9AAD-288E-0B4A-A4D2-9169EEB4C5EF}">
      <dgm:prSet phldrT="[Text]"/>
      <dgm:spPr>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Seamless session continuation across visits</a:t>
          </a:r>
          <a:endParaRPr lang="en-US" b="1" dirty="0">
            <a:effectLst>
              <a:outerShdw blurRad="50800" dist="38100" dir="2700000" algn="tl" rotWithShape="0">
                <a:prstClr val="black">
                  <a:alpha val="40000"/>
                </a:prstClr>
              </a:outerShdw>
            </a:effectLst>
          </a:endParaRPr>
        </a:p>
      </dgm:t>
    </dgm:pt>
    <dgm:pt modelId="{F5F28F68-69DA-C347-938A-3CCF605B29AB}" type="parTrans" cxnId="{219BA358-66B7-0F44-B8A3-21E80178ACCF}">
      <dgm:prSet/>
      <dgm:spPr/>
      <dgm:t>
        <a:bodyPr/>
        <a:lstStyle/>
        <a:p>
          <a:endParaRPr lang="en-US"/>
        </a:p>
      </dgm:t>
    </dgm:pt>
    <dgm:pt modelId="{6A1A54A5-98A7-FF49-9699-4CB4608AB21F}" type="sibTrans" cxnId="{219BA358-66B7-0F44-B8A3-21E80178ACCF}">
      <dgm:prSet/>
      <dgm:spPr/>
      <dgm:t>
        <a:bodyPr/>
        <a:lstStyle/>
        <a:p>
          <a:endParaRPr lang="en-US"/>
        </a:p>
      </dgm:t>
    </dgm:pt>
    <dgm:pt modelId="{BA6FF226-3807-2346-A740-CE3E60981FB3}">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Abandon basket e-mails</a:t>
          </a:r>
          <a:endParaRPr lang="en-US" b="1" dirty="0">
            <a:effectLst>
              <a:outerShdw blurRad="50800" dist="38100" dir="2700000" algn="tl" rotWithShape="0">
                <a:prstClr val="black">
                  <a:alpha val="40000"/>
                </a:prstClr>
              </a:outerShdw>
            </a:effectLst>
          </a:endParaRPr>
        </a:p>
      </dgm:t>
    </dgm:pt>
    <dgm:pt modelId="{705E07FB-4646-5640-AD39-5663CA022EE0}" type="parTrans" cxnId="{4F00E388-C72F-E24D-B41C-C77F61A7A0A7}">
      <dgm:prSet/>
      <dgm:spPr/>
      <dgm:t>
        <a:bodyPr/>
        <a:lstStyle/>
        <a:p>
          <a:endParaRPr lang="en-US"/>
        </a:p>
      </dgm:t>
    </dgm:pt>
    <dgm:pt modelId="{4F2ECF20-4C49-5249-A0EF-5FAE6D3E84AE}" type="sibTrans" cxnId="{4F00E388-C72F-E24D-B41C-C77F61A7A0A7}">
      <dgm:prSet/>
      <dgm:spPr/>
      <dgm:t>
        <a:bodyPr/>
        <a:lstStyle/>
        <a:p>
          <a:endParaRPr lang="en-US"/>
        </a:p>
      </dgm:t>
    </dgm:pt>
    <dgm:pt modelId="{8C2CA5B6-6500-9D43-9984-AE6727A18F74}">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Push last item viewed / redirect to conversion step</a:t>
          </a:r>
          <a:endParaRPr lang="en-US" b="1" dirty="0">
            <a:effectLst>
              <a:outerShdw blurRad="50800" dist="38100" dir="2700000" algn="tl" rotWithShape="0">
                <a:prstClr val="black">
                  <a:alpha val="40000"/>
                </a:prstClr>
              </a:outerShdw>
            </a:effectLst>
          </a:endParaRPr>
        </a:p>
      </dgm:t>
    </dgm:pt>
    <dgm:pt modelId="{537E3EB2-8400-9F46-8E14-018A525A6F13}" type="parTrans" cxnId="{2BF524E2-1BD9-DA47-8878-2D47CE1636A8}">
      <dgm:prSet/>
      <dgm:spPr/>
      <dgm:t>
        <a:bodyPr/>
        <a:lstStyle/>
        <a:p>
          <a:endParaRPr lang="en-US"/>
        </a:p>
      </dgm:t>
    </dgm:pt>
    <dgm:pt modelId="{B03FC588-7422-B345-AC2A-404830D942A9}" type="sibTrans" cxnId="{2BF524E2-1BD9-DA47-8878-2D47CE1636A8}">
      <dgm:prSet/>
      <dgm:spPr/>
      <dgm:t>
        <a:bodyPr/>
        <a:lstStyle/>
        <a:p>
          <a:endParaRPr lang="en-US"/>
        </a:p>
      </dgm:t>
    </dgm:pt>
    <dgm:pt modelId="{5B4F3E0D-971E-3647-86E4-6868F203DC2B}">
      <dgm:prSet phldrT="[Text]"/>
      <dgm:spPr>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Funnel path optimization</a:t>
          </a:r>
          <a:endParaRPr lang="en-US" b="1" dirty="0">
            <a:effectLst>
              <a:outerShdw blurRad="50800" dist="38100" dir="2700000" algn="tl" rotWithShape="0">
                <a:prstClr val="black">
                  <a:alpha val="40000"/>
                </a:prstClr>
              </a:outerShdw>
            </a:effectLst>
          </a:endParaRPr>
        </a:p>
      </dgm:t>
    </dgm:pt>
    <dgm:pt modelId="{F35DDD95-A0E8-D04C-90F4-7D2AE6A0AF8D}" type="parTrans" cxnId="{507A7539-079D-884C-A750-47DC0E0F2B5F}">
      <dgm:prSet/>
      <dgm:spPr/>
      <dgm:t>
        <a:bodyPr/>
        <a:lstStyle/>
        <a:p>
          <a:endParaRPr lang="en-US"/>
        </a:p>
      </dgm:t>
    </dgm:pt>
    <dgm:pt modelId="{F173B29F-EA33-FF4F-8F61-60CD6EE8F154}" type="sibTrans" cxnId="{507A7539-079D-884C-A750-47DC0E0F2B5F}">
      <dgm:prSet/>
      <dgm:spPr/>
      <dgm:t>
        <a:bodyPr/>
        <a:lstStyle/>
        <a:p>
          <a:endParaRPr lang="en-US"/>
        </a:p>
      </dgm:t>
    </dgm:pt>
    <dgm:pt modelId="{1A5ABF02-3DC0-3F46-89A6-D4A83DB904D1}">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Tailor user experience by selected funnel path (search v. browse v. deals)</a:t>
          </a:r>
          <a:endParaRPr lang="en-US" b="1" dirty="0">
            <a:effectLst>
              <a:outerShdw blurRad="50800" dist="38100" dir="2700000" algn="tl" rotWithShape="0">
                <a:prstClr val="black">
                  <a:alpha val="40000"/>
                </a:prstClr>
              </a:outerShdw>
            </a:effectLst>
          </a:endParaRPr>
        </a:p>
      </dgm:t>
    </dgm:pt>
    <dgm:pt modelId="{7FF81494-F22E-3B4A-AE0B-9C51C4A0F12C}" type="parTrans" cxnId="{7D8294E6-07BD-5D4C-9ACF-8116659315FA}">
      <dgm:prSet/>
      <dgm:spPr/>
      <dgm:t>
        <a:bodyPr/>
        <a:lstStyle/>
        <a:p>
          <a:endParaRPr lang="en-US"/>
        </a:p>
      </dgm:t>
    </dgm:pt>
    <dgm:pt modelId="{CD3754BE-0B21-2447-82D0-254D5E91DDB9}" type="sibTrans" cxnId="{7D8294E6-07BD-5D4C-9ACF-8116659315FA}">
      <dgm:prSet/>
      <dgm:spPr/>
      <dgm:t>
        <a:bodyPr/>
        <a:lstStyle/>
        <a:p>
          <a:endParaRPr lang="en-US"/>
        </a:p>
      </dgm:t>
    </dgm:pt>
    <dgm:pt modelId="{11B5AD18-48FD-6A4B-A82C-B8D0882BDFD5}">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Reduce number of steps in finding and comparing products</a:t>
          </a:r>
          <a:endParaRPr lang="en-US" b="1" dirty="0">
            <a:effectLst>
              <a:outerShdw blurRad="50800" dist="38100" dir="2700000" algn="tl" rotWithShape="0">
                <a:prstClr val="black">
                  <a:alpha val="40000"/>
                </a:prstClr>
              </a:outerShdw>
            </a:effectLst>
          </a:endParaRPr>
        </a:p>
      </dgm:t>
    </dgm:pt>
    <dgm:pt modelId="{76C0524B-EDDB-FA4A-A6A1-2FDCA1EEFA25}" type="parTrans" cxnId="{567C4151-E086-6440-93D2-C44BC75B3D12}">
      <dgm:prSet/>
      <dgm:spPr/>
      <dgm:t>
        <a:bodyPr/>
        <a:lstStyle/>
        <a:p>
          <a:endParaRPr lang="en-US"/>
        </a:p>
      </dgm:t>
    </dgm:pt>
    <dgm:pt modelId="{F5E5DF55-1CB3-094F-AB65-827743BF210C}" type="sibTrans" cxnId="{567C4151-E086-6440-93D2-C44BC75B3D12}">
      <dgm:prSet/>
      <dgm:spPr/>
      <dgm:t>
        <a:bodyPr/>
        <a:lstStyle/>
        <a:p>
          <a:endParaRPr lang="en-US"/>
        </a:p>
      </dgm:t>
    </dgm:pt>
    <dgm:pt modelId="{49CB4C51-4B03-F94A-A9CC-2536C8F9270F}">
      <dgm:prSet phldrT="[Text]"/>
      <dgm:spPr>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Reducing steps in checkout</a:t>
          </a:r>
          <a:endParaRPr lang="en-US" b="1" dirty="0">
            <a:effectLst>
              <a:outerShdw blurRad="50800" dist="38100" dir="2700000" algn="tl" rotWithShape="0">
                <a:prstClr val="black">
                  <a:alpha val="40000"/>
                </a:prstClr>
              </a:outerShdw>
            </a:effectLst>
          </a:endParaRPr>
        </a:p>
      </dgm:t>
    </dgm:pt>
    <dgm:pt modelId="{4BB222BF-BE28-4C47-9A72-39286C322445}" type="parTrans" cxnId="{9A43DC00-7CFB-E944-A61A-772AC3B1A419}">
      <dgm:prSet/>
      <dgm:spPr/>
      <dgm:t>
        <a:bodyPr/>
        <a:lstStyle/>
        <a:p>
          <a:endParaRPr lang="en-US"/>
        </a:p>
      </dgm:t>
    </dgm:pt>
    <dgm:pt modelId="{B9C2BE04-1365-0646-9A8C-152868F5C0E7}" type="sibTrans" cxnId="{9A43DC00-7CFB-E944-A61A-772AC3B1A419}">
      <dgm:prSet/>
      <dgm:spPr/>
      <dgm:t>
        <a:bodyPr/>
        <a:lstStyle/>
        <a:p>
          <a:endParaRPr lang="en-US"/>
        </a:p>
      </dgm:t>
    </dgm:pt>
    <dgm:pt modelId="{14A9B10A-492B-F046-AA45-A18CECB57509}">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Skipping upsells</a:t>
          </a:r>
          <a:endParaRPr lang="en-US" b="1" dirty="0">
            <a:effectLst>
              <a:outerShdw blurRad="50800" dist="38100" dir="2700000" algn="tl" rotWithShape="0">
                <a:prstClr val="black">
                  <a:alpha val="40000"/>
                </a:prstClr>
              </a:outerShdw>
            </a:effectLst>
          </a:endParaRPr>
        </a:p>
      </dgm:t>
    </dgm:pt>
    <dgm:pt modelId="{964A5E62-97E7-C048-9268-0DD949F4134F}" type="parTrans" cxnId="{A36B01A2-EF46-2B4A-B4B9-5FCB9A2315D0}">
      <dgm:prSet/>
      <dgm:spPr/>
      <dgm:t>
        <a:bodyPr/>
        <a:lstStyle/>
        <a:p>
          <a:endParaRPr lang="en-US"/>
        </a:p>
      </dgm:t>
    </dgm:pt>
    <dgm:pt modelId="{7A26E861-AF89-6F4A-88AE-4CE5F18F3043}" type="sibTrans" cxnId="{A36B01A2-EF46-2B4A-B4B9-5FCB9A2315D0}">
      <dgm:prSet/>
      <dgm:spPr/>
      <dgm:t>
        <a:bodyPr/>
        <a:lstStyle/>
        <a:p>
          <a:endParaRPr lang="en-US"/>
        </a:p>
      </dgm:t>
    </dgm:pt>
    <dgm:pt modelId="{D388754C-8CDF-944F-81D9-734A1D624DE5}">
      <dgm:prSet phldrT="[Text]"/>
      <dgm:spPr>
        <a:solidFill>
          <a:schemeClr val="accent1">
            <a:lumMod val="60000"/>
            <a:lumOff val="40000"/>
          </a:schemeClr>
        </a:solidFill>
        <a:ln w="101600" cmpd="dbl">
          <a:solidFill>
            <a:srgbClr val="FFFFFF"/>
          </a:solidFill>
        </a:ln>
      </dgm:spPr>
      <dgm:t>
        <a:bodyPr lIns="91440" tIns="18288" rIns="91440"/>
        <a:lstStyle/>
        <a:p>
          <a:r>
            <a:rPr lang="en-US" b="1" dirty="0" smtClean="0">
              <a:effectLst>
                <a:outerShdw blurRad="50800" dist="38100" dir="2700000" algn="tl" rotWithShape="0">
                  <a:prstClr val="black">
                    <a:alpha val="40000"/>
                  </a:prstClr>
                </a:outerShdw>
              </a:effectLst>
            </a:rPr>
            <a:t>Reduce questions / steps</a:t>
          </a:r>
          <a:endParaRPr lang="en-US" b="1" dirty="0">
            <a:effectLst>
              <a:outerShdw blurRad="50800" dist="38100" dir="2700000" algn="tl" rotWithShape="0">
                <a:prstClr val="black">
                  <a:alpha val="40000"/>
                </a:prstClr>
              </a:outerShdw>
            </a:effectLst>
          </a:endParaRPr>
        </a:p>
      </dgm:t>
    </dgm:pt>
    <dgm:pt modelId="{7D0C8FC0-2822-5146-86DC-E862D57D28F7}" type="parTrans" cxnId="{6395D2D6-9093-984B-BF32-B7A82BED7ADA}">
      <dgm:prSet/>
      <dgm:spPr/>
      <dgm:t>
        <a:bodyPr/>
        <a:lstStyle/>
        <a:p>
          <a:endParaRPr lang="en-US"/>
        </a:p>
      </dgm:t>
    </dgm:pt>
    <dgm:pt modelId="{06E79FDE-5F09-BB4D-B6D0-7AB67CB26B63}" type="sibTrans" cxnId="{6395D2D6-9093-984B-BF32-B7A82BED7ADA}">
      <dgm:prSet/>
      <dgm:spPr/>
      <dgm:t>
        <a:bodyPr/>
        <a:lstStyle/>
        <a:p>
          <a:endParaRPr lang="en-US"/>
        </a:p>
      </dgm:t>
    </dgm:pt>
    <dgm:pt modelId="{67FD2AD4-7083-B34B-8AB9-E13081EF86F9}">
      <dgm:prSet phldrT="[Text]"/>
      <dgm:spPr>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Personalization</a:t>
          </a:r>
          <a:endParaRPr lang="en-US" b="1" dirty="0">
            <a:effectLst>
              <a:outerShdw blurRad="50800" dist="38100" dir="2700000" algn="tl" rotWithShape="0">
                <a:prstClr val="black">
                  <a:alpha val="40000"/>
                </a:prstClr>
              </a:outerShdw>
            </a:effectLst>
          </a:endParaRPr>
        </a:p>
      </dgm:t>
    </dgm:pt>
    <dgm:pt modelId="{F409B74A-4849-4F40-B00A-E62D8179565D}" type="parTrans" cxnId="{1BA6F9EE-A2DD-0743-9AB9-02C159019733}">
      <dgm:prSet/>
      <dgm:spPr/>
      <dgm:t>
        <a:bodyPr/>
        <a:lstStyle/>
        <a:p>
          <a:endParaRPr lang="en-US"/>
        </a:p>
      </dgm:t>
    </dgm:pt>
    <dgm:pt modelId="{3897B640-7E39-3E42-96E9-264EBC4AEE1F}" type="sibTrans" cxnId="{1BA6F9EE-A2DD-0743-9AB9-02C159019733}">
      <dgm:prSet/>
      <dgm:spPr/>
      <dgm:t>
        <a:bodyPr/>
        <a:lstStyle/>
        <a:p>
          <a:endParaRPr lang="en-US"/>
        </a:p>
      </dgm:t>
    </dgm:pt>
    <dgm:pt modelId="{480C2FAB-0A28-DC43-92DE-A584FB0DAE31}">
      <dgm:prSet phldrT="[Text]"/>
      <dgm:spPr>
        <a:solidFill>
          <a:schemeClr val="accent1">
            <a:lumMod val="60000"/>
            <a:lumOff val="40000"/>
          </a:schemeClr>
        </a:solidFill>
        <a:ln w="101600" cmpd="dbl">
          <a:solidFill>
            <a:srgbClr val="FFFFFF"/>
          </a:solidFill>
        </a:ln>
      </dgm:spPr>
      <dgm:t>
        <a:bodyPr lIns="91440" tIns="18288" rIns="91440"/>
        <a:lstStyle/>
        <a:p>
          <a:r>
            <a:rPr lang="en-US" b="1" dirty="0" smtClean="0">
              <a:effectLst>
                <a:outerShdw blurRad="50800" dist="38100" dir="2700000" algn="tl" rotWithShape="0">
                  <a:prstClr val="black">
                    <a:alpha val="40000"/>
                  </a:prstClr>
                </a:outerShdw>
              </a:effectLst>
            </a:rPr>
            <a:t>Targeted offers / content displayed</a:t>
          </a:r>
          <a:endParaRPr lang="en-US" b="1" dirty="0">
            <a:effectLst>
              <a:outerShdw blurRad="50800" dist="38100" dir="2700000" algn="tl" rotWithShape="0">
                <a:prstClr val="black">
                  <a:alpha val="40000"/>
                </a:prstClr>
              </a:outerShdw>
            </a:effectLst>
          </a:endParaRPr>
        </a:p>
      </dgm:t>
    </dgm:pt>
    <dgm:pt modelId="{D5307D3E-A636-324D-8C3A-9829230BB487}" type="parTrans" cxnId="{468376E6-F32C-784C-AF1C-F32F9EEE22F0}">
      <dgm:prSet/>
      <dgm:spPr/>
      <dgm:t>
        <a:bodyPr/>
        <a:lstStyle/>
        <a:p>
          <a:endParaRPr lang="en-US"/>
        </a:p>
      </dgm:t>
    </dgm:pt>
    <dgm:pt modelId="{A7E8F226-EDDB-004D-8FA7-624FBA8EE44D}" type="sibTrans" cxnId="{468376E6-F32C-784C-AF1C-F32F9EEE22F0}">
      <dgm:prSet/>
      <dgm:spPr/>
      <dgm:t>
        <a:bodyPr/>
        <a:lstStyle/>
        <a:p>
          <a:endParaRPr lang="en-US"/>
        </a:p>
      </dgm:t>
    </dgm:pt>
    <dgm:pt modelId="{73C75B63-3273-2346-8A61-65D3F5E8CBC0}">
      <dgm:prSet phldrT="[Text]"/>
      <dgm:spPr>
        <a:solidFill>
          <a:schemeClr val="accent1">
            <a:lumMod val="60000"/>
            <a:lumOff val="40000"/>
          </a:schemeClr>
        </a:solidFill>
        <a:ln w="101600" cmpd="dbl">
          <a:solidFill>
            <a:srgbClr val="FFFFFF"/>
          </a:solidFill>
        </a:ln>
      </dgm:spPr>
      <dgm:t>
        <a:bodyPr lIns="91440" tIns="18288" rIns="91440"/>
        <a:lstStyle/>
        <a:p>
          <a:r>
            <a:rPr lang="en-US" b="1" dirty="0" smtClean="0">
              <a:effectLst>
                <a:outerShdw blurRad="50800" dist="38100" dir="2700000" algn="tl" rotWithShape="0">
                  <a:prstClr val="black">
                    <a:alpha val="40000"/>
                  </a:prstClr>
                </a:outerShdw>
              </a:effectLst>
            </a:rPr>
            <a:t>Messaging + Unique Selling Points adjusted by user segment</a:t>
          </a:r>
          <a:endParaRPr lang="en-US" b="1" dirty="0">
            <a:effectLst>
              <a:outerShdw blurRad="50800" dist="38100" dir="2700000" algn="tl" rotWithShape="0">
                <a:prstClr val="black">
                  <a:alpha val="40000"/>
                </a:prstClr>
              </a:outerShdw>
            </a:effectLst>
          </a:endParaRPr>
        </a:p>
      </dgm:t>
    </dgm:pt>
    <dgm:pt modelId="{411D2A1A-9B4A-674A-B93D-2C923CBCDFDB}" type="parTrans" cxnId="{DE82662A-7317-3A44-9B7E-83AB1D77A8E6}">
      <dgm:prSet/>
      <dgm:spPr/>
      <dgm:t>
        <a:bodyPr/>
        <a:lstStyle/>
        <a:p>
          <a:endParaRPr lang="en-US"/>
        </a:p>
      </dgm:t>
    </dgm:pt>
    <dgm:pt modelId="{0DA3E687-69A2-C040-A91D-CC726019B849}" type="sibTrans" cxnId="{DE82662A-7317-3A44-9B7E-83AB1D77A8E6}">
      <dgm:prSet/>
      <dgm:spPr/>
      <dgm:t>
        <a:bodyPr/>
        <a:lstStyle/>
        <a:p>
          <a:endParaRPr lang="en-US"/>
        </a:p>
      </dgm:t>
    </dgm:pt>
    <dgm:pt modelId="{D069104F-4C0B-3147-953F-A5D93E0C8F12}">
      <dgm:prSet phldrT="[Text]"/>
      <dgm:spPr>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Seasonality</a:t>
          </a:r>
          <a:endParaRPr lang="en-US" b="1" dirty="0">
            <a:effectLst>
              <a:outerShdw blurRad="50800" dist="38100" dir="2700000" algn="tl" rotWithShape="0">
                <a:prstClr val="black">
                  <a:alpha val="40000"/>
                </a:prstClr>
              </a:outerShdw>
            </a:effectLst>
          </a:endParaRPr>
        </a:p>
      </dgm:t>
    </dgm:pt>
    <dgm:pt modelId="{E110FCDD-5DD2-7A49-B84B-225145A8853A}" type="parTrans" cxnId="{B456C1ED-CE32-F147-B0E7-907F06C4219F}">
      <dgm:prSet/>
      <dgm:spPr/>
      <dgm:t>
        <a:bodyPr/>
        <a:lstStyle/>
        <a:p>
          <a:endParaRPr lang="en-US"/>
        </a:p>
      </dgm:t>
    </dgm:pt>
    <dgm:pt modelId="{39A089AB-A795-484A-A4A6-264956AD86C0}" type="sibTrans" cxnId="{B456C1ED-CE32-F147-B0E7-907F06C4219F}">
      <dgm:prSet/>
      <dgm:spPr/>
      <dgm:t>
        <a:bodyPr/>
        <a:lstStyle/>
        <a:p>
          <a:endParaRPr lang="en-US"/>
        </a:p>
      </dgm:t>
    </dgm:pt>
    <dgm:pt modelId="{C3ACB4D6-7889-774B-A5F7-FFA378C074CF}">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Product selection by season</a:t>
          </a:r>
          <a:endParaRPr lang="en-US" b="1" dirty="0">
            <a:effectLst>
              <a:outerShdw blurRad="50800" dist="38100" dir="2700000" algn="tl" rotWithShape="0">
                <a:prstClr val="black">
                  <a:alpha val="40000"/>
                </a:prstClr>
              </a:outerShdw>
            </a:effectLst>
          </a:endParaRPr>
        </a:p>
      </dgm:t>
    </dgm:pt>
    <dgm:pt modelId="{2D781344-65A3-CC42-AE48-89E6ECA195E3}" type="parTrans" cxnId="{B03B2853-7799-6542-973F-38921B9C59DC}">
      <dgm:prSet/>
      <dgm:spPr/>
      <dgm:t>
        <a:bodyPr/>
        <a:lstStyle/>
        <a:p>
          <a:endParaRPr lang="en-US"/>
        </a:p>
      </dgm:t>
    </dgm:pt>
    <dgm:pt modelId="{D38DE1B7-1B09-0E49-ACB8-C9CFDEF1647E}" type="sibTrans" cxnId="{B03B2853-7799-6542-973F-38921B9C59DC}">
      <dgm:prSet/>
      <dgm:spPr/>
      <dgm:t>
        <a:bodyPr/>
        <a:lstStyle/>
        <a:p>
          <a:endParaRPr lang="en-US"/>
        </a:p>
      </dgm:t>
    </dgm:pt>
    <dgm:pt modelId="{02A61A4C-1F65-A841-A4A7-C10C1A746FA0}">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Tailor to varying user intent (purchase versus research)</a:t>
          </a:r>
          <a:endParaRPr lang="en-US" b="1" dirty="0">
            <a:effectLst>
              <a:outerShdw blurRad="50800" dist="38100" dir="2700000" algn="tl" rotWithShape="0">
                <a:prstClr val="black">
                  <a:alpha val="40000"/>
                </a:prstClr>
              </a:outerShdw>
            </a:effectLst>
          </a:endParaRPr>
        </a:p>
      </dgm:t>
    </dgm:pt>
    <dgm:pt modelId="{9197C098-8C8E-D049-B974-F3A046C386B0}" type="parTrans" cxnId="{44982454-02A3-964A-A7E9-6B1BED7E6639}">
      <dgm:prSet/>
      <dgm:spPr/>
      <dgm:t>
        <a:bodyPr/>
        <a:lstStyle/>
        <a:p>
          <a:endParaRPr lang="en-US"/>
        </a:p>
      </dgm:t>
    </dgm:pt>
    <dgm:pt modelId="{9C0643BD-024C-6945-806C-AD1907A088E2}" type="sibTrans" cxnId="{44982454-02A3-964A-A7E9-6B1BED7E6639}">
      <dgm:prSet/>
      <dgm:spPr/>
      <dgm:t>
        <a:bodyPr/>
        <a:lstStyle/>
        <a:p>
          <a:endParaRPr lang="en-US"/>
        </a:p>
      </dgm:t>
    </dgm:pt>
    <dgm:pt modelId="{6308DAA9-F7A4-2D4C-A7FF-EBCD8392D5BE}">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Optimize landing pages per season</a:t>
          </a:r>
          <a:endParaRPr lang="en-US" b="1" dirty="0">
            <a:effectLst>
              <a:outerShdw blurRad="50800" dist="38100" dir="2700000" algn="tl" rotWithShape="0">
                <a:prstClr val="black">
                  <a:alpha val="40000"/>
                </a:prstClr>
              </a:outerShdw>
            </a:effectLst>
          </a:endParaRPr>
        </a:p>
      </dgm:t>
    </dgm:pt>
    <dgm:pt modelId="{2541B10E-6F92-C44B-974B-71F50AD1905E}" type="sibTrans" cxnId="{4C4FAA6A-FB05-D740-AF92-B5A4CD82B0CC}">
      <dgm:prSet/>
      <dgm:spPr/>
      <dgm:t>
        <a:bodyPr/>
        <a:lstStyle/>
        <a:p>
          <a:endParaRPr lang="en-US"/>
        </a:p>
      </dgm:t>
    </dgm:pt>
    <dgm:pt modelId="{9ACF3F41-8BA2-7647-A016-D4E5A2A50965}" type="parTrans" cxnId="{4C4FAA6A-FB05-D740-AF92-B5A4CD82B0CC}">
      <dgm:prSet/>
      <dgm:spPr/>
      <dgm:t>
        <a:bodyPr/>
        <a:lstStyle/>
        <a:p>
          <a:endParaRPr lang="en-US"/>
        </a:p>
      </dgm:t>
    </dgm:pt>
    <dgm:pt modelId="{A53C0CFE-184A-1146-8FA6-FFD39694D4B0}">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Marketing + Imagery per audience</a:t>
          </a:r>
          <a:endParaRPr lang="en-US" b="1" dirty="0">
            <a:effectLst>
              <a:outerShdw blurRad="50800" dist="38100" dir="2700000" algn="tl" rotWithShape="0">
                <a:prstClr val="black">
                  <a:alpha val="40000"/>
                </a:prstClr>
              </a:outerShdw>
            </a:effectLst>
          </a:endParaRPr>
        </a:p>
      </dgm:t>
    </dgm:pt>
    <dgm:pt modelId="{713A8226-1B84-4E41-A1CB-EBD5E7CFFDE7}" type="sibTrans" cxnId="{DE475260-3A92-934F-B6B6-0F0EE16460F4}">
      <dgm:prSet/>
      <dgm:spPr/>
      <dgm:t>
        <a:bodyPr/>
        <a:lstStyle/>
        <a:p>
          <a:endParaRPr lang="en-US"/>
        </a:p>
      </dgm:t>
    </dgm:pt>
    <dgm:pt modelId="{3096FC50-CDEA-CD40-A16C-4FE101488966}" type="parTrans" cxnId="{DE475260-3A92-934F-B6B6-0F0EE16460F4}">
      <dgm:prSet/>
      <dgm:spPr/>
      <dgm:t>
        <a:bodyPr/>
        <a:lstStyle/>
        <a:p>
          <a:endParaRPr lang="en-US"/>
        </a:p>
      </dgm:t>
    </dgm:pt>
    <dgm:pt modelId="{5959550F-67B9-B04E-91C4-902A91EFE7E5}">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Pre-fill data</a:t>
          </a:r>
          <a:endParaRPr lang="en-US" b="1" dirty="0">
            <a:effectLst>
              <a:outerShdw blurRad="50800" dist="38100" dir="2700000" algn="tl" rotWithShape="0">
                <a:prstClr val="black">
                  <a:alpha val="40000"/>
                </a:prstClr>
              </a:outerShdw>
            </a:effectLst>
          </a:endParaRPr>
        </a:p>
      </dgm:t>
    </dgm:pt>
    <dgm:pt modelId="{13323021-6798-904F-A2E1-2BF25AC8C76A}" type="sibTrans" cxnId="{765F496A-DF0A-D340-82AA-515F7E305441}">
      <dgm:prSet/>
      <dgm:spPr/>
      <dgm:t>
        <a:bodyPr/>
        <a:lstStyle/>
        <a:p>
          <a:endParaRPr lang="en-US"/>
        </a:p>
      </dgm:t>
    </dgm:pt>
    <dgm:pt modelId="{BEEC9641-8114-8F4D-8D80-33DB53450849}" type="parTrans" cxnId="{765F496A-DF0A-D340-82AA-515F7E305441}">
      <dgm:prSet/>
      <dgm:spPr/>
      <dgm:t>
        <a:bodyPr/>
        <a:lstStyle/>
        <a:p>
          <a:endParaRPr lang="en-US"/>
        </a:p>
      </dgm:t>
    </dgm:pt>
    <dgm:pt modelId="{1DF3C01B-2614-5C42-80DD-7422BFA9073B}">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Redirect users to higher ROI funnel paths</a:t>
          </a:r>
          <a:endParaRPr lang="en-US" b="1" dirty="0">
            <a:effectLst>
              <a:outerShdw blurRad="50800" dist="38100" dir="2700000" algn="tl" rotWithShape="0">
                <a:prstClr val="black">
                  <a:alpha val="40000"/>
                </a:prstClr>
              </a:outerShdw>
            </a:effectLst>
          </a:endParaRPr>
        </a:p>
      </dgm:t>
    </dgm:pt>
    <dgm:pt modelId="{036CF8FE-F202-7F4F-841D-5436F4E76D0C}" type="sibTrans" cxnId="{D3656547-4FE9-5C46-8AF9-1BAE6BBB3612}">
      <dgm:prSet/>
      <dgm:spPr/>
      <dgm:t>
        <a:bodyPr/>
        <a:lstStyle/>
        <a:p>
          <a:endParaRPr lang="en-US"/>
        </a:p>
      </dgm:t>
    </dgm:pt>
    <dgm:pt modelId="{EFC072AF-A0F9-2340-A2B6-3F5834C6C0F3}" type="parTrans" cxnId="{D3656547-4FE9-5C46-8AF9-1BAE6BBB3612}">
      <dgm:prSet/>
      <dgm:spPr/>
      <dgm:t>
        <a:bodyPr/>
        <a:lstStyle/>
        <a:p>
          <a:endParaRPr lang="en-US"/>
        </a:p>
      </dgm:t>
    </dgm:pt>
    <dgm:pt modelId="{338A4ADE-7A0B-DA46-A749-6378547614AE}">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Push the same product types</a:t>
          </a:r>
          <a:endParaRPr lang="en-US" b="1" dirty="0">
            <a:effectLst>
              <a:outerShdw blurRad="50800" dist="38100" dir="2700000" algn="tl" rotWithShape="0">
                <a:prstClr val="black">
                  <a:alpha val="40000"/>
                </a:prstClr>
              </a:outerShdw>
            </a:effectLst>
          </a:endParaRPr>
        </a:p>
      </dgm:t>
    </dgm:pt>
    <dgm:pt modelId="{DAB67360-C5DA-964D-A265-B384EDA879CD}" type="sibTrans" cxnId="{6F47062D-6E63-1C4F-8B35-A2743E2FDBE3}">
      <dgm:prSet/>
      <dgm:spPr/>
      <dgm:t>
        <a:bodyPr/>
        <a:lstStyle/>
        <a:p>
          <a:endParaRPr lang="en-US"/>
        </a:p>
      </dgm:t>
    </dgm:pt>
    <dgm:pt modelId="{7085B25D-4135-BC43-B854-9EAACE03C079}" type="parTrans" cxnId="{6F47062D-6E63-1C4F-8B35-A2743E2FDBE3}">
      <dgm:prSet/>
      <dgm:spPr/>
      <dgm:t>
        <a:bodyPr/>
        <a:lstStyle/>
        <a:p>
          <a:endParaRPr lang="en-US"/>
        </a:p>
      </dgm:t>
    </dgm:pt>
    <dgm:pt modelId="{6ED0CB55-86AA-574C-ACD3-3B855323E998}">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Simplify consultation</a:t>
          </a:r>
          <a:endParaRPr lang="en-US" b="1" dirty="0">
            <a:effectLst>
              <a:outerShdw blurRad="50800" dist="38100" dir="2700000" algn="tl" rotWithShape="0">
                <a:prstClr val="black">
                  <a:alpha val="40000"/>
                </a:prstClr>
              </a:outerShdw>
            </a:effectLst>
          </a:endParaRPr>
        </a:p>
      </dgm:t>
    </dgm:pt>
    <dgm:pt modelId="{29D931B7-5EF3-7C46-8DD6-E1AF7D9AF902}" type="sibTrans" cxnId="{2DB5EFD8-AA35-3D44-982F-3C839A1C30C0}">
      <dgm:prSet/>
      <dgm:spPr/>
      <dgm:t>
        <a:bodyPr/>
        <a:lstStyle/>
        <a:p>
          <a:endParaRPr lang="en-US"/>
        </a:p>
      </dgm:t>
    </dgm:pt>
    <dgm:pt modelId="{7D0052A5-00E7-E545-B888-401A40246FF3}" type="parTrans" cxnId="{2DB5EFD8-AA35-3D44-982F-3C839A1C30C0}">
      <dgm:prSet/>
      <dgm:spPr/>
      <dgm:t>
        <a:bodyPr/>
        <a:lstStyle/>
        <a:p>
          <a:endParaRPr lang="en-US"/>
        </a:p>
      </dgm:t>
    </dgm:pt>
    <dgm:pt modelId="{30607E5D-7EC8-8446-AD48-AEEC633315C8}" type="pres">
      <dgm:prSet presAssocID="{AF3357FD-18B0-1644-966C-BCE3778B58DD}" presName="hierChild1" presStyleCnt="0">
        <dgm:presLayoutVars>
          <dgm:orgChart val="1"/>
          <dgm:chPref val="1"/>
          <dgm:dir/>
          <dgm:animOne val="branch"/>
          <dgm:animLvl val="lvl"/>
          <dgm:resizeHandles/>
        </dgm:presLayoutVars>
      </dgm:prSet>
      <dgm:spPr/>
      <dgm:t>
        <a:bodyPr/>
        <a:lstStyle/>
        <a:p>
          <a:endParaRPr lang="en-US"/>
        </a:p>
      </dgm:t>
    </dgm:pt>
    <dgm:pt modelId="{01768E30-7C00-9D46-B106-9803EF77DB72}" type="pres">
      <dgm:prSet presAssocID="{25517EF2-3665-EB4B-9D7F-2C037C685C4E}" presName="hierRoot1" presStyleCnt="0">
        <dgm:presLayoutVars>
          <dgm:hierBranch val="init"/>
        </dgm:presLayoutVars>
      </dgm:prSet>
      <dgm:spPr/>
    </dgm:pt>
    <dgm:pt modelId="{37E44035-6D06-FE4D-927A-CD14E98DC4F7}" type="pres">
      <dgm:prSet presAssocID="{25517EF2-3665-EB4B-9D7F-2C037C685C4E}" presName="rootComposite1" presStyleCnt="0"/>
      <dgm:spPr/>
    </dgm:pt>
    <dgm:pt modelId="{06637420-A86F-4644-990A-75D86B7E454C}" type="pres">
      <dgm:prSet presAssocID="{25517EF2-3665-EB4B-9D7F-2C037C685C4E}" presName="rootText1" presStyleLbl="node0" presStyleIdx="0" presStyleCnt="1" custScaleX="125731" custScaleY="163289">
        <dgm:presLayoutVars>
          <dgm:chPref val="3"/>
        </dgm:presLayoutVars>
      </dgm:prSet>
      <dgm:spPr>
        <a:prstGeom prst="roundRect">
          <a:avLst/>
        </a:prstGeom>
      </dgm:spPr>
      <dgm:t>
        <a:bodyPr/>
        <a:lstStyle/>
        <a:p>
          <a:endParaRPr lang="en-US"/>
        </a:p>
      </dgm:t>
    </dgm:pt>
    <dgm:pt modelId="{466535D8-AEE6-1D47-974F-880041EEEAA5}" type="pres">
      <dgm:prSet presAssocID="{25517EF2-3665-EB4B-9D7F-2C037C685C4E}" presName="rootConnector1" presStyleLbl="node1" presStyleIdx="0" presStyleCnt="0"/>
      <dgm:spPr/>
      <dgm:t>
        <a:bodyPr/>
        <a:lstStyle/>
        <a:p>
          <a:endParaRPr lang="en-US"/>
        </a:p>
      </dgm:t>
    </dgm:pt>
    <dgm:pt modelId="{C176592F-E087-B04D-9588-EF6FC2F92869}" type="pres">
      <dgm:prSet presAssocID="{25517EF2-3665-EB4B-9D7F-2C037C685C4E}" presName="hierChild2" presStyleCnt="0"/>
      <dgm:spPr/>
    </dgm:pt>
    <dgm:pt modelId="{0F5D9B2B-0CE6-4D47-A7B6-80BAEBDC59FC}" type="pres">
      <dgm:prSet presAssocID="{07AFA923-B56F-0042-B585-5B06F0FA0896}" presName="Name37" presStyleLbl="parChTrans1D2" presStyleIdx="0" presStyleCnt="6" custSzY="569430"/>
      <dgm:spPr/>
      <dgm:t>
        <a:bodyPr/>
        <a:lstStyle/>
        <a:p>
          <a:endParaRPr lang="en-US"/>
        </a:p>
      </dgm:t>
    </dgm:pt>
    <dgm:pt modelId="{0F65DF5F-EBEB-B343-9794-35C42F4DC89D}" type="pres">
      <dgm:prSet presAssocID="{4B26847B-222F-E04F-B93F-7958496DA65C}" presName="hierRoot2" presStyleCnt="0">
        <dgm:presLayoutVars>
          <dgm:hierBranch val="init"/>
        </dgm:presLayoutVars>
      </dgm:prSet>
      <dgm:spPr/>
    </dgm:pt>
    <dgm:pt modelId="{D29FBFF0-EB79-0F4F-8C4A-4AF2BBB0A047}" type="pres">
      <dgm:prSet presAssocID="{4B26847B-222F-E04F-B93F-7958496DA65C}" presName="rootComposite" presStyleCnt="0"/>
      <dgm:spPr/>
    </dgm:pt>
    <dgm:pt modelId="{91D7ADA8-1475-9349-913E-9C2D53C1D7C9}" type="pres">
      <dgm:prSet presAssocID="{4B26847B-222F-E04F-B93F-7958496DA65C}" presName="rootText" presStyleLbl="node2" presStyleIdx="0" presStyleCnt="6" custScaleX="122545" custScaleY="163289">
        <dgm:presLayoutVars>
          <dgm:chPref val="3"/>
        </dgm:presLayoutVars>
      </dgm:prSet>
      <dgm:spPr>
        <a:prstGeom prst="roundRect">
          <a:avLst/>
        </a:prstGeom>
      </dgm:spPr>
      <dgm:t>
        <a:bodyPr/>
        <a:lstStyle/>
        <a:p>
          <a:endParaRPr lang="en-US"/>
        </a:p>
      </dgm:t>
    </dgm:pt>
    <dgm:pt modelId="{A7DBADC9-C072-5C48-A3E3-552A2F42BAEE}" type="pres">
      <dgm:prSet presAssocID="{4B26847B-222F-E04F-B93F-7958496DA65C}" presName="rootConnector" presStyleLbl="node2" presStyleIdx="0" presStyleCnt="6"/>
      <dgm:spPr/>
      <dgm:t>
        <a:bodyPr/>
        <a:lstStyle/>
        <a:p>
          <a:endParaRPr lang="en-US"/>
        </a:p>
      </dgm:t>
    </dgm:pt>
    <dgm:pt modelId="{69158542-B581-0247-BAE6-60E62584FEB9}" type="pres">
      <dgm:prSet presAssocID="{4B26847B-222F-E04F-B93F-7958496DA65C}" presName="hierChild4" presStyleCnt="0"/>
      <dgm:spPr/>
    </dgm:pt>
    <dgm:pt modelId="{44E963F3-2784-9E43-9E90-000EB562AE2A}" type="pres">
      <dgm:prSet presAssocID="{33424807-C11D-7C4A-85E7-BB0E19ACD352}" presName="Name37" presStyleLbl="parChTrans1D3" presStyleIdx="0" presStyleCnt="18" custSzY="1501939"/>
      <dgm:spPr/>
      <dgm:t>
        <a:bodyPr/>
        <a:lstStyle/>
        <a:p>
          <a:endParaRPr lang="en-US"/>
        </a:p>
      </dgm:t>
    </dgm:pt>
    <dgm:pt modelId="{53955494-3838-2F45-BEBB-CE94816E60BA}" type="pres">
      <dgm:prSet presAssocID="{50B35D2E-59F3-7346-A146-7B84569A5183}" presName="hierRoot2" presStyleCnt="0">
        <dgm:presLayoutVars>
          <dgm:hierBranch val="init"/>
        </dgm:presLayoutVars>
      </dgm:prSet>
      <dgm:spPr/>
    </dgm:pt>
    <dgm:pt modelId="{282371C0-CB9F-F142-BFE4-23129E24152E}" type="pres">
      <dgm:prSet presAssocID="{50B35D2E-59F3-7346-A146-7B84569A5183}" presName="rootComposite" presStyleCnt="0"/>
      <dgm:spPr/>
    </dgm:pt>
    <dgm:pt modelId="{2ED78204-93EC-064C-823A-1586CD82394C}" type="pres">
      <dgm:prSet presAssocID="{50B35D2E-59F3-7346-A146-7B84569A5183}" presName="rootText" presStyleLbl="node3" presStyleIdx="0" presStyleCnt="18" custScaleY="163289">
        <dgm:presLayoutVars>
          <dgm:chPref val="3"/>
        </dgm:presLayoutVars>
      </dgm:prSet>
      <dgm:spPr>
        <a:prstGeom prst="roundRect">
          <a:avLst/>
        </a:prstGeom>
      </dgm:spPr>
      <dgm:t>
        <a:bodyPr/>
        <a:lstStyle/>
        <a:p>
          <a:endParaRPr lang="en-US"/>
        </a:p>
      </dgm:t>
    </dgm:pt>
    <dgm:pt modelId="{36770380-7547-ED48-AB39-E00707E5AE49}" type="pres">
      <dgm:prSet presAssocID="{50B35D2E-59F3-7346-A146-7B84569A5183}" presName="rootConnector" presStyleLbl="node3" presStyleIdx="0" presStyleCnt="18"/>
      <dgm:spPr/>
      <dgm:t>
        <a:bodyPr/>
        <a:lstStyle/>
        <a:p>
          <a:endParaRPr lang="en-US"/>
        </a:p>
      </dgm:t>
    </dgm:pt>
    <dgm:pt modelId="{7FD810D4-2EE4-0A43-B7CD-AE490DD9C8B4}" type="pres">
      <dgm:prSet presAssocID="{50B35D2E-59F3-7346-A146-7B84569A5183}" presName="hierChild4" presStyleCnt="0"/>
      <dgm:spPr/>
    </dgm:pt>
    <dgm:pt modelId="{A06DA4CD-7588-714E-AB31-0B7105F724FF}" type="pres">
      <dgm:prSet presAssocID="{50B35D2E-59F3-7346-A146-7B84569A5183}" presName="hierChild5" presStyleCnt="0"/>
      <dgm:spPr/>
    </dgm:pt>
    <dgm:pt modelId="{88E2A4D5-E62D-B048-BDF2-2627D68216CE}" type="pres">
      <dgm:prSet presAssocID="{3B5A4386-A293-8747-A207-2A8D5CABEA7A}" presName="Name37" presStyleLbl="parChTrans1D3" presStyleIdx="1" presStyleCnt="18" custSzY="3936388"/>
      <dgm:spPr/>
      <dgm:t>
        <a:bodyPr/>
        <a:lstStyle/>
        <a:p>
          <a:endParaRPr lang="en-US"/>
        </a:p>
      </dgm:t>
    </dgm:pt>
    <dgm:pt modelId="{C7C9DA51-6B03-C94F-93CB-D44D3137A8B1}" type="pres">
      <dgm:prSet presAssocID="{C6588B98-FB28-334E-BDCA-56820ACB0569}" presName="hierRoot2" presStyleCnt="0">
        <dgm:presLayoutVars>
          <dgm:hierBranch val="init"/>
        </dgm:presLayoutVars>
      </dgm:prSet>
      <dgm:spPr/>
    </dgm:pt>
    <dgm:pt modelId="{CCCCC64E-4161-4D41-9593-1A4F78C7EF17}" type="pres">
      <dgm:prSet presAssocID="{C6588B98-FB28-334E-BDCA-56820ACB0569}" presName="rootComposite" presStyleCnt="0"/>
      <dgm:spPr/>
    </dgm:pt>
    <dgm:pt modelId="{3B98D480-5A9A-0A4D-8BDC-FE216FA48EE4}" type="pres">
      <dgm:prSet presAssocID="{C6588B98-FB28-334E-BDCA-56820ACB0569}" presName="rootText" presStyleLbl="node3" presStyleIdx="1" presStyleCnt="18" custScaleY="163289">
        <dgm:presLayoutVars>
          <dgm:chPref val="3"/>
        </dgm:presLayoutVars>
      </dgm:prSet>
      <dgm:spPr>
        <a:prstGeom prst="roundRect">
          <a:avLst/>
        </a:prstGeom>
      </dgm:spPr>
      <dgm:t>
        <a:bodyPr/>
        <a:lstStyle/>
        <a:p>
          <a:endParaRPr lang="en-US"/>
        </a:p>
      </dgm:t>
    </dgm:pt>
    <dgm:pt modelId="{CCA6A030-3016-FB4D-BB2D-797B6CA6511F}" type="pres">
      <dgm:prSet presAssocID="{C6588B98-FB28-334E-BDCA-56820ACB0569}" presName="rootConnector" presStyleLbl="node3" presStyleIdx="1" presStyleCnt="18"/>
      <dgm:spPr/>
      <dgm:t>
        <a:bodyPr/>
        <a:lstStyle/>
        <a:p>
          <a:endParaRPr lang="en-US"/>
        </a:p>
      </dgm:t>
    </dgm:pt>
    <dgm:pt modelId="{893D50E5-BFD6-374D-B623-8C8F06D30FB9}" type="pres">
      <dgm:prSet presAssocID="{C6588B98-FB28-334E-BDCA-56820ACB0569}" presName="hierChild4" presStyleCnt="0"/>
      <dgm:spPr/>
    </dgm:pt>
    <dgm:pt modelId="{9A169D03-FEAA-964F-82BE-17DF2B44F83D}" type="pres">
      <dgm:prSet presAssocID="{C6588B98-FB28-334E-BDCA-56820ACB0569}" presName="hierChild5" presStyleCnt="0"/>
      <dgm:spPr/>
    </dgm:pt>
    <dgm:pt modelId="{CDA8158C-1C6B-024B-9E64-1510DD2C7A55}" type="pres">
      <dgm:prSet presAssocID="{7D0052A5-00E7-E545-B888-401A40246FF3}" presName="Name37" presStyleLbl="parChTrans1D3" presStyleIdx="2" presStyleCnt="18" custSzY="6370837"/>
      <dgm:spPr/>
      <dgm:t>
        <a:bodyPr/>
        <a:lstStyle/>
        <a:p>
          <a:endParaRPr lang="en-US"/>
        </a:p>
      </dgm:t>
    </dgm:pt>
    <dgm:pt modelId="{86D1A16A-2EDC-7B49-BDD5-ADA121CED2D3}" type="pres">
      <dgm:prSet presAssocID="{6ED0CB55-86AA-574C-ACD3-3B855323E998}" presName="hierRoot2" presStyleCnt="0">
        <dgm:presLayoutVars>
          <dgm:hierBranch val="init"/>
        </dgm:presLayoutVars>
      </dgm:prSet>
      <dgm:spPr/>
    </dgm:pt>
    <dgm:pt modelId="{64FB60A2-29ED-0C42-82BE-AEF32C4DEBD0}" type="pres">
      <dgm:prSet presAssocID="{6ED0CB55-86AA-574C-ACD3-3B855323E998}" presName="rootComposite" presStyleCnt="0"/>
      <dgm:spPr/>
    </dgm:pt>
    <dgm:pt modelId="{2C0E0A56-4821-5340-9545-5653DBEF3E82}" type="pres">
      <dgm:prSet presAssocID="{6ED0CB55-86AA-574C-ACD3-3B855323E998}" presName="rootText" presStyleLbl="node3" presStyleIdx="2" presStyleCnt="18" custScaleY="163289">
        <dgm:presLayoutVars>
          <dgm:chPref val="3"/>
        </dgm:presLayoutVars>
      </dgm:prSet>
      <dgm:spPr>
        <a:prstGeom prst="roundRect">
          <a:avLst/>
        </a:prstGeom>
      </dgm:spPr>
      <dgm:t>
        <a:bodyPr/>
        <a:lstStyle/>
        <a:p>
          <a:endParaRPr lang="en-US"/>
        </a:p>
      </dgm:t>
    </dgm:pt>
    <dgm:pt modelId="{10D8D681-CBDA-D246-9198-063E1F1463D5}" type="pres">
      <dgm:prSet presAssocID="{6ED0CB55-86AA-574C-ACD3-3B855323E998}" presName="rootConnector" presStyleLbl="node3" presStyleIdx="2" presStyleCnt="18"/>
      <dgm:spPr/>
      <dgm:t>
        <a:bodyPr/>
        <a:lstStyle/>
        <a:p>
          <a:endParaRPr lang="en-US"/>
        </a:p>
      </dgm:t>
    </dgm:pt>
    <dgm:pt modelId="{CC9BABF7-5A8C-E043-A639-9D9F60E49EB2}" type="pres">
      <dgm:prSet presAssocID="{6ED0CB55-86AA-574C-ACD3-3B855323E998}" presName="hierChild4" presStyleCnt="0"/>
      <dgm:spPr/>
    </dgm:pt>
    <dgm:pt modelId="{CE13E513-7EF6-3C4A-BF03-7E569F8E0EFD}" type="pres">
      <dgm:prSet presAssocID="{6ED0CB55-86AA-574C-ACD3-3B855323E998}" presName="hierChild5" presStyleCnt="0"/>
      <dgm:spPr/>
    </dgm:pt>
    <dgm:pt modelId="{99494E59-30AF-C84C-8FAD-74D70922C5BB}" type="pres">
      <dgm:prSet presAssocID="{4B26847B-222F-E04F-B93F-7958496DA65C}" presName="hierChild5" presStyleCnt="0"/>
      <dgm:spPr/>
    </dgm:pt>
    <dgm:pt modelId="{6AB3DB73-5383-E944-8E93-5490DBAC07ED}" type="pres">
      <dgm:prSet presAssocID="{F5F28F68-69DA-C347-938A-3CCF605B29AB}" presName="Name37" presStyleLbl="parChTrans1D2" presStyleIdx="1" presStyleCnt="6" custSzY="569430"/>
      <dgm:spPr/>
      <dgm:t>
        <a:bodyPr/>
        <a:lstStyle/>
        <a:p>
          <a:endParaRPr lang="en-US"/>
        </a:p>
      </dgm:t>
    </dgm:pt>
    <dgm:pt modelId="{063E0CF9-7144-D34B-96D0-290257049F24}" type="pres">
      <dgm:prSet presAssocID="{C70D9AAD-288E-0B4A-A4D2-9169EEB4C5EF}" presName="hierRoot2" presStyleCnt="0">
        <dgm:presLayoutVars>
          <dgm:hierBranch val="init"/>
        </dgm:presLayoutVars>
      </dgm:prSet>
      <dgm:spPr/>
    </dgm:pt>
    <dgm:pt modelId="{9D7957A4-BCF4-A64B-9FA8-89318DD7C26C}" type="pres">
      <dgm:prSet presAssocID="{C70D9AAD-288E-0B4A-A4D2-9169EEB4C5EF}" presName="rootComposite" presStyleCnt="0"/>
      <dgm:spPr/>
    </dgm:pt>
    <dgm:pt modelId="{6A1B3FF2-4302-AB42-9144-D0C7AF33189D}" type="pres">
      <dgm:prSet presAssocID="{C70D9AAD-288E-0B4A-A4D2-9169EEB4C5EF}" presName="rootText" presStyleLbl="node2" presStyleIdx="1" presStyleCnt="6" custScaleX="122545" custScaleY="163289">
        <dgm:presLayoutVars>
          <dgm:chPref val="3"/>
        </dgm:presLayoutVars>
      </dgm:prSet>
      <dgm:spPr>
        <a:prstGeom prst="roundRect">
          <a:avLst/>
        </a:prstGeom>
      </dgm:spPr>
      <dgm:t>
        <a:bodyPr/>
        <a:lstStyle/>
        <a:p>
          <a:endParaRPr lang="en-US"/>
        </a:p>
      </dgm:t>
    </dgm:pt>
    <dgm:pt modelId="{A8476105-19F1-B646-B233-7DFE7667D28F}" type="pres">
      <dgm:prSet presAssocID="{C70D9AAD-288E-0B4A-A4D2-9169EEB4C5EF}" presName="rootConnector" presStyleLbl="node2" presStyleIdx="1" presStyleCnt="6"/>
      <dgm:spPr/>
      <dgm:t>
        <a:bodyPr/>
        <a:lstStyle/>
        <a:p>
          <a:endParaRPr lang="en-US"/>
        </a:p>
      </dgm:t>
    </dgm:pt>
    <dgm:pt modelId="{DB85212C-909C-BE4F-9C57-AA092C9F8F68}" type="pres">
      <dgm:prSet presAssocID="{C70D9AAD-288E-0B4A-A4D2-9169EEB4C5EF}" presName="hierChild4" presStyleCnt="0"/>
      <dgm:spPr/>
    </dgm:pt>
    <dgm:pt modelId="{FCB70BC6-8BC2-7740-8498-E09039141FAE}" type="pres">
      <dgm:prSet presAssocID="{705E07FB-4646-5640-AD39-5663CA022EE0}" presName="Name37" presStyleLbl="parChTrans1D3" presStyleIdx="3" presStyleCnt="18" custSzY="1501939"/>
      <dgm:spPr/>
      <dgm:t>
        <a:bodyPr/>
        <a:lstStyle/>
        <a:p>
          <a:endParaRPr lang="en-US"/>
        </a:p>
      </dgm:t>
    </dgm:pt>
    <dgm:pt modelId="{8A2CB56E-93D1-874C-81A9-9FAC0DA015D2}" type="pres">
      <dgm:prSet presAssocID="{BA6FF226-3807-2346-A740-CE3E60981FB3}" presName="hierRoot2" presStyleCnt="0">
        <dgm:presLayoutVars>
          <dgm:hierBranch val="init"/>
        </dgm:presLayoutVars>
      </dgm:prSet>
      <dgm:spPr/>
    </dgm:pt>
    <dgm:pt modelId="{56803695-D01D-974E-959F-E4FC5996044F}" type="pres">
      <dgm:prSet presAssocID="{BA6FF226-3807-2346-A740-CE3E60981FB3}" presName="rootComposite" presStyleCnt="0"/>
      <dgm:spPr/>
    </dgm:pt>
    <dgm:pt modelId="{22959F47-69F7-D445-9334-5C7C176A2653}" type="pres">
      <dgm:prSet presAssocID="{BA6FF226-3807-2346-A740-CE3E60981FB3}" presName="rootText" presStyleLbl="node3" presStyleIdx="3" presStyleCnt="18" custScaleY="163289">
        <dgm:presLayoutVars>
          <dgm:chPref val="3"/>
        </dgm:presLayoutVars>
      </dgm:prSet>
      <dgm:spPr>
        <a:prstGeom prst="roundRect">
          <a:avLst/>
        </a:prstGeom>
      </dgm:spPr>
      <dgm:t>
        <a:bodyPr/>
        <a:lstStyle/>
        <a:p>
          <a:endParaRPr lang="en-US"/>
        </a:p>
      </dgm:t>
    </dgm:pt>
    <dgm:pt modelId="{8C060B5F-BBBF-2049-9E6B-A69B2A074D8E}" type="pres">
      <dgm:prSet presAssocID="{BA6FF226-3807-2346-A740-CE3E60981FB3}" presName="rootConnector" presStyleLbl="node3" presStyleIdx="3" presStyleCnt="18"/>
      <dgm:spPr/>
      <dgm:t>
        <a:bodyPr/>
        <a:lstStyle/>
        <a:p>
          <a:endParaRPr lang="en-US"/>
        </a:p>
      </dgm:t>
    </dgm:pt>
    <dgm:pt modelId="{175F2BE5-9841-E24D-8258-D4DAB9588C96}" type="pres">
      <dgm:prSet presAssocID="{BA6FF226-3807-2346-A740-CE3E60981FB3}" presName="hierChild4" presStyleCnt="0"/>
      <dgm:spPr/>
    </dgm:pt>
    <dgm:pt modelId="{6C96FA0A-0A57-4A45-A656-B89BDED585EB}" type="pres">
      <dgm:prSet presAssocID="{BA6FF226-3807-2346-A740-CE3E60981FB3}" presName="hierChild5" presStyleCnt="0"/>
      <dgm:spPr/>
    </dgm:pt>
    <dgm:pt modelId="{6CD5F04D-881E-FF45-840F-9065F725359E}" type="pres">
      <dgm:prSet presAssocID="{537E3EB2-8400-9F46-8E14-018A525A6F13}" presName="Name37" presStyleLbl="parChTrans1D3" presStyleIdx="4" presStyleCnt="18" custSzY="3936388"/>
      <dgm:spPr/>
      <dgm:t>
        <a:bodyPr/>
        <a:lstStyle/>
        <a:p>
          <a:endParaRPr lang="en-US"/>
        </a:p>
      </dgm:t>
    </dgm:pt>
    <dgm:pt modelId="{EEB1F1F6-A420-3B4D-83C3-44A0874B3872}" type="pres">
      <dgm:prSet presAssocID="{8C2CA5B6-6500-9D43-9984-AE6727A18F74}" presName="hierRoot2" presStyleCnt="0">
        <dgm:presLayoutVars>
          <dgm:hierBranch val="init"/>
        </dgm:presLayoutVars>
      </dgm:prSet>
      <dgm:spPr/>
    </dgm:pt>
    <dgm:pt modelId="{866BA078-C3D3-2F4C-A7CC-2903AAEBC56E}" type="pres">
      <dgm:prSet presAssocID="{8C2CA5B6-6500-9D43-9984-AE6727A18F74}" presName="rootComposite" presStyleCnt="0"/>
      <dgm:spPr/>
    </dgm:pt>
    <dgm:pt modelId="{35471471-CB84-0746-BDD4-1655B6C5471A}" type="pres">
      <dgm:prSet presAssocID="{8C2CA5B6-6500-9D43-9984-AE6727A18F74}" presName="rootText" presStyleLbl="node3" presStyleIdx="4" presStyleCnt="18" custScaleY="163289">
        <dgm:presLayoutVars>
          <dgm:chPref val="3"/>
        </dgm:presLayoutVars>
      </dgm:prSet>
      <dgm:spPr>
        <a:prstGeom prst="roundRect">
          <a:avLst/>
        </a:prstGeom>
      </dgm:spPr>
      <dgm:t>
        <a:bodyPr/>
        <a:lstStyle/>
        <a:p>
          <a:endParaRPr lang="en-US"/>
        </a:p>
      </dgm:t>
    </dgm:pt>
    <dgm:pt modelId="{BF48F31E-442A-8542-BEC6-8A1283ECC0DC}" type="pres">
      <dgm:prSet presAssocID="{8C2CA5B6-6500-9D43-9984-AE6727A18F74}" presName="rootConnector" presStyleLbl="node3" presStyleIdx="4" presStyleCnt="18"/>
      <dgm:spPr/>
      <dgm:t>
        <a:bodyPr/>
        <a:lstStyle/>
        <a:p>
          <a:endParaRPr lang="en-US"/>
        </a:p>
      </dgm:t>
    </dgm:pt>
    <dgm:pt modelId="{2F554D91-DC1D-3A4B-BD01-7DD0FBADA47A}" type="pres">
      <dgm:prSet presAssocID="{8C2CA5B6-6500-9D43-9984-AE6727A18F74}" presName="hierChild4" presStyleCnt="0"/>
      <dgm:spPr/>
    </dgm:pt>
    <dgm:pt modelId="{5C57C97C-2160-274D-A8EF-85D36B4657F0}" type="pres">
      <dgm:prSet presAssocID="{8C2CA5B6-6500-9D43-9984-AE6727A18F74}" presName="hierChild5" presStyleCnt="0"/>
      <dgm:spPr/>
    </dgm:pt>
    <dgm:pt modelId="{2DC6FEB6-D342-A148-B4E4-3574392637D2}" type="pres">
      <dgm:prSet presAssocID="{7085B25D-4135-BC43-B854-9EAACE03C079}" presName="Name37" presStyleLbl="parChTrans1D3" presStyleIdx="5" presStyleCnt="18" custSzY="6370837"/>
      <dgm:spPr/>
      <dgm:t>
        <a:bodyPr/>
        <a:lstStyle/>
        <a:p>
          <a:endParaRPr lang="en-US"/>
        </a:p>
      </dgm:t>
    </dgm:pt>
    <dgm:pt modelId="{E7C14A77-D7F1-1E41-9F22-78FC6F14D5DD}" type="pres">
      <dgm:prSet presAssocID="{338A4ADE-7A0B-DA46-A749-6378547614AE}" presName="hierRoot2" presStyleCnt="0">
        <dgm:presLayoutVars>
          <dgm:hierBranch val="init"/>
        </dgm:presLayoutVars>
      </dgm:prSet>
      <dgm:spPr/>
    </dgm:pt>
    <dgm:pt modelId="{345D217C-C154-0B4F-9496-F18800B28FFF}" type="pres">
      <dgm:prSet presAssocID="{338A4ADE-7A0B-DA46-A749-6378547614AE}" presName="rootComposite" presStyleCnt="0"/>
      <dgm:spPr/>
    </dgm:pt>
    <dgm:pt modelId="{9276651D-6194-EA49-8E09-02C1BFFFA9D5}" type="pres">
      <dgm:prSet presAssocID="{338A4ADE-7A0B-DA46-A749-6378547614AE}" presName="rootText" presStyleLbl="node3" presStyleIdx="5" presStyleCnt="18" custScaleY="163289">
        <dgm:presLayoutVars>
          <dgm:chPref val="3"/>
        </dgm:presLayoutVars>
      </dgm:prSet>
      <dgm:spPr>
        <a:prstGeom prst="roundRect">
          <a:avLst/>
        </a:prstGeom>
      </dgm:spPr>
      <dgm:t>
        <a:bodyPr/>
        <a:lstStyle/>
        <a:p>
          <a:endParaRPr lang="en-US"/>
        </a:p>
      </dgm:t>
    </dgm:pt>
    <dgm:pt modelId="{CD5ED238-8A46-9548-AD80-16CB05272A14}" type="pres">
      <dgm:prSet presAssocID="{338A4ADE-7A0B-DA46-A749-6378547614AE}" presName="rootConnector" presStyleLbl="node3" presStyleIdx="5" presStyleCnt="18"/>
      <dgm:spPr/>
      <dgm:t>
        <a:bodyPr/>
        <a:lstStyle/>
        <a:p>
          <a:endParaRPr lang="en-US"/>
        </a:p>
      </dgm:t>
    </dgm:pt>
    <dgm:pt modelId="{BDC06036-AFEF-8F4C-A1E3-0138032EDE75}" type="pres">
      <dgm:prSet presAssocID="{338A4ADE-7A0B-DA46-A749-6378547614AE}" presName="hierChild4" presStyleCnt="0"/>
      <dgm:spPr/>
    </dgm:pt>
    <dgm:pt modelId="{F44A321D-F93F-1847-9AAA-56093CB8396B}" type="pres">
      <dgm:prSet presAssocID="{338A4ADE-7A0B-DA46-A749-6378547614AE}" presName="hierChild5" presStyleCnt="0"/>
      <dgm:spPr/>
    </dgm:pt>
    <dgm:pt modelId="{E7AD0A5D-E521-4D48-A5EC-9A4A203AF9D4}" type="pres">
      <dgm:prSet presAssocID="{C70D9AAD-288E-0B4A-A4D2-9169EEB4C5EF}" presName="hierChild5" presStyleCnt="0"/>
      <dgm:spPr/>
    </dgm:pt>
    <dgm:pt modelId="{910491EA-604E-6842-9866-DF2E9CD33930}" type="pres">
      <dgm:prSet presAssocID="{F35DDD95-A0E8-D04C-90F4-7D2AE6A0AF8D}" presName="Name37" presStyleLbl="parChTrans1D2" presStyleIdx="2" presStyleCnt="6" custSzY="569430"/>
      <dgm:spPr/>
      <dgm:t>
        <a:bodyPr/>
        <a:lstStyle/>
        <a:p>
          <a:endParaRPr lang="en-US"/>
        </a:p>
      </dgm:t>
    </dgm:pt>
    <dgm:pt modelId="{4F6E76D3-53FC-9B40-84F9-F7C25AED53E4}" type="pres">
      <dgm:prSet presAssocID="{5B4F3E0D-971E-3647-86E4-6868F203DC2B}" presName="hierRoot2" presStyleCnt="0">
        <dgm:presLayoutVars>
          <dgm:hierBranch val="init"/>
        </dgm:presLayoutVars>
      </dgm:prSet>
      <dgm:spPr/>
    </dgm:pt>
    <dgm:pt modelId="{71838188-1DD8-7345-B5E8-F0FD31F9988C}" type="pres">
      <dgm:prSet presAssocID="{5B4F3E0D-971E-3647-86E4-6868F203DC2B}" presName="rootComposite" presStyleCnt="0"/>
      <dgm:spPr/>
    </dgm:pt>
    <dgm:pt modelId="{C98D4C05-6DFD-F848-8831-CA53C562EFA9}" type="pres">
      <dgm:prSet presAssocID="{5B4F3E0D-971E-3647-86E4-6868F203DC2B}" presName="rootText" presStyleLbl="node2" presStyleIdx="2" presStyleCnt="6" custScaleX="122545" custScaleY="163289">
        <dgm:presLayoutVars>
          <dgm:chPref val="3"/>
        </dgm:presLayoutVars>
      </dgm:prSet>
      <dgm:spPr>
        <a:prstGeom prst="roundRect">
          <a:avLst/>
        </a:prstGeom>
      </dgm:spPr>
      <dgm:t>
        <a:bodyPr/>
        <a:lstStyle/>
        <a:p>
          <a:endParaRPr lang="en-US"/>
        </a:p>
      </dgm:t>
    </dgm:pt>
    <dgm:pt modelId="{8249A152-56BE-E046-8A45-0C56C7C1D191}" type="pres">
      <dgm:prSet presAssocID="{5B4F3E0D-971E-3647-86E4-6868F203DC2B}" presName="rootConnector" presStyleLbl="node2" presStyleIdx="2" presStyleCnt="6"/>
      <dgm:spPr/>
      <dgm:t>
        <a:bodyPr/>
        <a:lstStyle/>
        <a:p>
          <a:endParaRPr lang="en-US"/>
        </a:p>
      </dgm:t>
    </dgm:pt>
    <dgm:pt modelId="{936D50A9-CCB4-4945-945B-85E46E6A9010}" type="pres">
      <dgm:prSet presAssocID="{5B4F3E0D-971E-3647-86E4-6868F203DC2B}" presName="hierChild4" presStyleCnt="0"/>
      <dgm:spPr/>
    </dgm:pt>
    <dgm:pt modelId="{D62CB30F-6901-594F-8775-B46F34227BC9}" type="pres">
      <dgm:prSet presAssocID="{7FF81494-F22E-3B4A-AE0B-9C51C4A0F12C}" presName="Name37" presStyleLbl="parChTrans1D3" presStyleIdx="6" presStyleCnt="18" custSzY="1501939"/>
      <dgm:spPr/>
      <dgm:t>
        <a:bodyPr/>
        <a:lstStyle/>
        <a:p>
          <a:endParaRPr lang="en-US"/>
        </a:p>
      </dgm:t>
    </dgm:pt>
    <dgm:pt modelId="{2A1E62F8-D51C-B44A-BD70-E6C65A68DCCB}" type="pres">
      <dgm:prSet presAssocID="{1A5ABF02-3DC0-3F46-89A6-D4A83DB904D1}" presName="hierRoot2" presStyleCnt="0">
        <dgm:presLayoutVars>
          <dgm:hierBranch val="init"/>
        </dgm:presLayoutVars>
      </dgm:prSet>
      <dgm:spPr/>
    </dgm:pt>
    <dgm:pt modelId="{F9703759-1D98-084A-B066-79D5FA0B0817}" type="pres">
      <dgm:prSet presAssocID="{1A5ABF02-3DC0-3F46-89A6-D4A83DB904D1}" presName="rootComposite" presStyleCnt="0"/>
      <dgm:spPr/>
    </dgm:pt>
    <dgm:pt modelId="{7AAAE15D-9C55-1D43-B8B7-B04F0D48EABD}" type="pres">
      <dgm:prSet presAssocID="{1A5ABF02-3DC0-3F46-89A6-D4A83DB904D1}" presName="rootText" presStyleLbl="node3" presStyleIdx="6" presStyleCnt="18" custScaleY="163289">
        <dgm:presLayoutVars>
          <dgm:chPref val="3"/>
        </dgm:presLayoutVars>
      </dgm:prSet>
      <dgm:spPr>
        <a:prstGeom prst="roundRect">
          <a:avLst/>
        </a:prstGeom>
      </dgm:spPr>
      <dgm:t>
        <a:bodyPr/>
        <a:lstStyle/>
        <a:p>
          <a:endParaRPr lang="en-US"/>
        </a:p>
      </dgm:t>
    </dgm:pt>
    <dgm:pt modelId="{C8CB1346-EB34-094E-8B3A-28042614FB03}" type="pres">
      <dgm:prSet presAssocID="{1A5ABF02-3DC0-3F46-89A6-D4A83DB904D1}" presName="rootConnector" presStyleLbl="node3" presStyleIdx="6" presStyleCnt="18"/>
      <dgm:spPr/>
      <dgm:t>
        <a:bodyPr/>
        <a:lstStyle/>
        <a:p>
          <a:endParaRPr lang="en-US"/>
        </a:p>
      </dgm:t>
    </dgm:pt>
    <dgm:pt modelId="{C07159A7-2612-CB43-B1EE-FC2609E7E9AD}" type="pres">
      <dgm:prSet presAssocID="{1A5ABF02-3DC0-3F46-89A6-D4A83DB904D1}" presName="hierChild4" presStyleCnt="0"/>
      <dgm:spPr/>
    </dgm:pt>
    <dgm:pt modelId="{B9C12C8A-E3B4-7940-B9D7-DB49D619BCB5}" type="pres">
      <dgm:prSet presAssocID="{1A5ABF02-3DC0-3F46-89A6-D4A83DB904D1}" presName="hierChild5" presStyleCnt="0"/>
      <dgm:spPr/>
    </dgm:pt>
    <dgm:pt modelId="{129F0079-A483-7E48-A321-97C36DBA0475}" type="pres">
      <dgm:prSet presAssocID="{76C0524B-EDDB-FA4A-A6A1-2FDCA1EEFA25}" presName="Name37" presStyleLbl="parChTrans1D3" presStyleIdx="7" presStyleCnt="18" custSzY="3936388"/>
      <dgm:spPr/>
      <dgm:t>
        <a:bodyPr/>
        <a:lstStyle/>
        <a:p>
          <a:endParaRPr lang="en-US"/>
        </a:p>
      </dgm:t>
    </dgm:pt>
    <dgm:pt modelId="{505AFEB6-44FD-0948-86B1-1EBBFB7AD6E8}" type="pres">
      <dgm:prSet presAssocID="{11B5AD18-48FD-6A4B-A82C-B8D0882BDFD5}" presName="hierRoot2" presStyleCnt="0">
        <dgm:presLayoutVars>
          <dgm:hierBranch val="init"/>
        </dgm:presLayoutVars>
      </dgm:prSet>
      <dgm:spPr/>
    </dgm:pt>
    <dgm:pt modelId="{898B3C27-79E5-B94F-AB28-34998FE8B917}" type="pres">
      <dgm:prSet presAssocID="{11B5AD18-48FD-6A4B-A82C-B8D0882BDFD5}" presName="rootComposite" presStyleCnt="0"/>
      <dgm:spPr/>
    </dgm:pt>
    <dgm:pt modelId="{7C50BECD-9391-C544-9079-7DCA06B1B106}" type="pres">
      <dgm:prSet presAssocID="{11B5AD18-48FD-6A4B-A82C-B8D0882BDFD5}" presName="rootText" presStyleLbl="node3" presStyleIdx="7" presStyleCnt="18" custScaleY="163289">
        <dgm:presLayoutVars>
          <dgm:chPref val="3"/>
        </dgm:presLayoutVars>
      </dgm:prSet>
      <dgm:spPr>
        <a:prstGeom prst="roundRect">
          <a:avLst/>
        </a:prstGeom>
      </dgm:spPr>
      <dgm:t>
        <a:bodyPr/>
        <a:lstStyle/>
        <a:p>
          <a:endParaRPr lang="en-US"/>
        </a:p>
      </dgm:t>
    </dgm:pt>
    <dgm:pt modelId="{35D57237-8BFB-E945-A7A7-3C3A20E1DD9C}" type="pres">
      <dgm:prSet presAssocID="{11B5AD18-48FD-6A4B-A82C-B8D0882BDFD5}" presName="rootConnector" presStyleLbl="node3" presStyleIdx="7" presStyleCnt="18"/>
      <dgm:spPr/>
      <dgm:t>
        <a:bodyPr/>
        <a:lstStyle/>
        <a:p>
          <a:endParaRPr lang="en-US"/>
        </a:p>
      </dgm:t>
    </dgm:pt>
    <dgm:pt modelId="{9742A4E0-8FBD-7543-97A8-E98A936FD000}" type="pres">
      <dgm:prSet presAssocID="{11B5AD18-48FD-6A4B-A82C-B8D0882BDFD5}" presName="hierChild4" presStyleCnt="0"/>
      <dgm:spPr/>
    </dgm:pt>
    <dgm:pt modelId="{7BE38307-1708-2D4C-8A04-E67A64FA40B2}" type="pres">
      <dgm:prSet presAssocID="{11B5AD18-48FD-6A4B-A82C-B8D0882BDFD5}" presName="hierChild5" presStyleCnt="0"/>
      <dgm:spPr/>
    </dgm:pt>
    <dgm:pt modelId="{5030E2EE-B0D1-364F-B6DF-876E246B6AE1}" type="pres">
      <dgm:prSet presAssocID="{EFC072AF-A0F9-2340-A2B6-3F5834C6C0F3}" presName="Name37" presStyleLbl="parChTrans1D3" presStyleIdx="8" presStyleCnt="18" custSzY="6370837"/>
      <dgm:spPr/>
      <dgm:t>
        <a:bodyPr/>
        <a:lstStyle/>
        <a:p>
          <a:endParaRPr lang="en-US"/>
        </a:p>
      </dgm:t>
    </dgm:pt>
    <dgm:pt modelId="{3BF92A3B-B68B-8F4A-ACDB-61F48235A59F}" type="pres">
      <dgm:prSet presAssocID="{1DF3C01B-2614-5C42-80DD-7422BFA9073B}" presName="hierRoot2" presStyleCnt="0">
        <dgm:presLayoutVars>
          <dgm:hierBranch val="init"/>
        </dgm:presLayoutVars>
      </dgm:prSet>
      <dgm:spPr/>
    </dgm:pt>
    <dgm:pt modelId="{B998F742-4147-FB46-B213-304B069DACB0}" type="pres">
      <dgm:prSet presAssocID="{1DF3C01B-2614-5C42-80DD-7422BFA9073B}" presName="rootComposite" presStyleCnt="0"/>
      <dgm:spPr/>
    </dgm:pt>
    <dgm:pt modelId="{C8DB6E88-65AB-3947-BF5E-D30F973C203C}" type="pres">
      <dgm:prSet presAssocID="{1DF3C01B-2614-5C42-80DD-7422BFA9073B}" presName="rootText" presStyleLbl="node3" presStyleIdx="8" presStyleCnt="18" custScaleY="163289">
        <dgm:presLayoutVars>
          <dgm:chPref val="3"/>
        </dgm:presLayoutVars>
      </dgm:prSet>
      <dgm:spPr>
        <a:prstGeom prst="roundRect">
          <a:avLst/>
        </a:prstGeom>
      </dgm:spPr>
      <dgm:t>
        <a:bodyPr/>
        <a:lstStyle/>
        <a:p>
          <a:endParaRPr lang="en-US"/>
        </a:p>
      </dgm:t>
    </dgm:pt>
    <dgm:pt modelId="{62108426-B799-194D-AB78-22283909E5A2}" type="pres">
      <dgm:prSet presAssocID="{1DF3C01B-2614-5C42-80DD-7422BFA9073B}" presName="rootConnector" presStyleLbl="node3" presStyleIdx="8" presStyleCnt="18"/>
      <dgm:spPr/>
      <dgm:t>
        <a:bodyPr/>
        <a:lstStyle/>
        <a:p>
          <a:endParaRPr lang="en-US"/>
        </a:p>
      </dgm:t>
    </dgm:pt>
    <dgm:pt modelId="{60AB16CA-A0FA-E548-A598-8F4F677A192B}" type="pres">
      <dgm:prSet presAssocID="{1DF3C01B-2614-5C42-80DD-7422BFA9073B}" presName="hierChild4" presStyleCnt="0"/>
      <dgm:spPr/>
    </dgm:pt>
    <dgm:pt modelId="{360B2E77-F622-5945-8392-2B887285C669}" type="pres">
      <dgm:prSet presAssocID="{1DF3C01B-2614-5C42-80DD-7422BFA9073B}" presName="hierChild5" presStyleCnt="0"/>
      <dgm:spPr/>
    </dgm:pt>
    <dgm:pt modelId="{0E88A329-C564-C840-B127-2181CD7549E6}" type="pres">
      <dgm:prSet presAssocID="{5B4F3E0D-971E-3647-86E4-6868F203DC2B}" presName="hierChild5" presStyleCnt="0"/>
      <dgm:spPr/>
    </dgm:pt>
    <dgm:pt modelId="{323D0151-0AF0-7A44-BCE6-C10462839127}" type="pres">
      <dgm:prSet presAssocID="{4BB222BF-BE28-4C47-9A72-39286C322445}" presName="Name37" presStyleLbl="parChTrans1D2" presStyleIdx="3" presStyleCnt="6" custSzY="569430"/>
      <dgm:spPr/>
      <dgm:t>
        <a:bodyPr/>
        <a:lstStyle/>
        <a:p>
          <a:endParaRPr lang="en-US"/>
        </a:p>
      </dgm:t>
    </dgm:pt>
    <dgm:pt modelId="{C0502B14-1B52-7042-ACC0-DA1514170E49}" type="pres">
      <dgm:prSet presAssocID="{49CB4C51-4B03-F94A-A9CC-2536C8F9270F}" presName="hierRoot2" presStyleCnt="0">
        <dgm:presLayoutVars>
          <dgm:hierBranch val="init"/>
        </dgm:presLayoutVars>
      </dgm:prSet>
      <dgm:spPr/>
    </dgm:pt>
    <dgm:pt modelId="{124E14D1-547A-F840-A53B-8C32D7C0E093}" type="pres">
      <dgm:prSet presAssocID="{49CB4C51-4B03-F94A-A9CC-2536C8F9270F}" presName="rootComposite" presStyleCnt="0"/>
      <dgm:spPr/>
    </dgm:pt>
    <dgm:pt modelId="{F63DB975-E825-ED40-9ED5-8EF8047133DC}" type="pres">
      <dgm:prSet presAssocID="{49CB4C51-4B03-F94A-A9CC-2536C8F9270F}" presName="rootText" presStyleLbl="node2" presStyleIdx="3" presStyleCnt="6" custScaleX="122545" custScaleY="163289">
        <dgm:presLayoutVars>
          <dgm:chPref val="3"/>
        </dgm:presLayoutVars>
      </dgm:prSet>
      <dgm:spPr>
        <a:prstGeom prst="roundRect">
          <a:avLst/>
        </a:prstGeom>
      </dgm:spPr>
      <dgm:t>
        <a:bodyPr/>
        <a:lstStyle/>
        <a:p>
          <a:endParaRPr lang="en-US"/>
        </a:p>
      </dgm:t>
    </dgm:pt>
    <dgm:pt modelId="{448BE257-6BD3-154B-8455-7442213A9C1F}" type="pres">
      <dgm:prSet presAssocID="{49CB4C51-4B03-F94A-A9CC-2536C8F9270F}" presName="rootConnector" presStyleLbl="node2" presStyleIdx="3" presStyleCnt="6"/>
      <dgm:spPr/>
      <dgm:t>
        <a:bodyPr/>
        <a:lstStyle/>
        <a:p>
          <a:endParaRPr lang="en-US"/>
        </a:p>
      </dgm:t>
    </dgm:pt>
    <dgm:pt modelId="{068F8C37-46EE-4847-A292-C25509F10E4F}" type="pres">
      <dgm:prSet presAssocID="{49CB4C51-4B03-F94A-A9CC-2536C8F9270F}" presName="hierChild4" presStyleCnt="0"/>
      <dgm:spPr/>
    </dgm:pt>
    <dgm:pt modelId="{7B5B0F12-5DDA-9943-9092-2A10F2FE9601}" type="pres">
      <dgm:prSet presAssocID="{964A5E62-97E7-C048-9268-0DD949F4134F}" presName="Name37" presStyleLbl="parChTrans1D3" presStyleIdx="9" presStyleCnt="18" custSzY="1501939"/>
      <dgm:spPr/>
      <dgm:t>
        <a:bodyPr/>
        <a:lstStyle/>
        <a:p>
          <a:endParaRPr lang="en-US"/>
        </a:p>
      </dgm:t>
    </dgm:pt>
    <dgm:pt modelId="{416A776B-95CC-6242-82B8-F3477537D01B}" type="pres">
      <dgm:prSet presAssocID="{14A9B10A-492B-F046-AA45-A18CECB57509}" presName="hierRoot2" presStyleCnt="0">
        <dgm:presLayoutVars>
          <dgm:hierBranch val="init"/>
        </dgm:presLayoutVars>
      </dgm:prSet>
      <dgm:spPr/>
    </dgm:pt>
    <dgm:pt modelId="{B3872BE2-32B6-FA4E-AD30-FDDA357E030B}" type="pres">
      <dgm:prSet presAssocID="{14A9B10A-492B-F046-AA45-A18CECB57509}" presName="rootComposite" presStyleCnt="0"/>
      <dgm:spPr/>
    </dgm:pt>
    <dgm:pt modelId="{BD45870A-B3FE-4649-A1E8-44ABA898ACEB}" type="pres">
      <dgm:prSet presAssocID="{14A9B10A-492B-F046-AA45-A18CECB57509}" presName="rootText" presStyleLbl="node3" presStyleIdx="9" presStyleCnt="18" custScaleY="163289">
        <dgm:presLayoutVars>
          <dgm:chPref val="3"/>
        </dgm:presLayoutVars>
      </dgm:prSet>
      <dgm:spPr>
        <a:prstGeom prst="roundRect">
          <a:avLst/>
        </a:prstGeom>
      </dgm:spPr>
      <dgm:t>
        <a:bodyPr/>
        <a:lstStyle/>
        <a:p>
          <a:endParaRPr lang="en-US"/>
        </a:p>
      </dgm:t>
    </dgm:pt>
    <dgm:pt modelId="{6D27B739-9A5A-FE45-BC1E-B91110B18E69}" type="pres">
      <dgm:prSet presAssocID="{14A9B10A-492B-F046-AA45-A18CECB57509}" presName="rootConnector" presStyleLbl="node3" presStyleIdx="9" presStyleCnt="18"/>
      <dgm:spPr/>
      <dgm:t>
        <a:bodyPr/>
        <a:lstStyle/>
        <a:p>
          <a:endParaRPr lang="en-US"/>
        </a:p>
      </dgm:t>
    </dgm:pt>
    <dgm:pt modelId="{E0AA5810-09FE-6F49-9E01-C37893D5B99E}" type="pres">
      <dgm:prSet presAssocID="{14A9B10A-492B-F046-AA45-A18CECB57509}" presName="hierChild4" presStyleCnt="0"/>
      <dgm:spPr/>
    </dgm:pt>
    <dgm:pt modelId="{67B38412-62E0-F041-A9A6-EEB827EE7287}" type="pres">
      <dgm:prSet presAssocID="{14A9B10A-492B-F046-AA45-A18CECB57509}" presName="hierChild5" presStyleCnt="0"/>
      <dgm:spPr/>
    </dgm:pt>
    <dgm:pt modelId="{4C9BEE53-E580-D245-BCCD-590C85D76065}" type="pres">
      <dgm:prSet presAssocID="{7D0C8FC0-2822-5146-86DC-E862D57D28F7}" presName="Name37" presStyleLbl="parChTrans1D3" presStyleIdx="10" presStyleCnt="18" custSzY="3936388"/>
      <dgm:spPr/>
      <dgm:t>
        <a:bodyPr/>
        <a:lstStyle/>
        <a:p>
          <a:endParaRPr lang="en-US"/>
        </a:p>
      </dgm:t>
    </dgm:pt>
    <dgm:pt modelId="{084F8B06-8855-B74B-A705-6E163C44E754}" type="pres">
      <dgm:prSet presAssocID="{D388754C-8CDF-944F-81D9-734A1D624DE5}" presName="hierRoot2" presStyleCnt="0">
        <dgm:presLayoutVars>
          <dgm:hierBranch val="init"/>
        </dgm:presLayoutVars>
      </dgm:prSet>
      <dgm:spPr/>
    </dgm:pt>
    <dgm:pt modelId="{9EA94B24-EF62-6646-8B44-17764E9A462E}" type="pres">
      <dgm:prSet presAssocID="{D388754C-8CDF-944F-81D9-734A1D624DE5}" presName="rootComposite" presStyleCnt="0"/>
      <dgm:spPr/>
    </dgm:pt>
    <dgm:pt modelId="{667C8B84-66F0-D04D-AF88-0F329C747158}" type="pres">
      <dgm:prSet presAssocID="{D388754C-8CDF-944F-81D9-734A1D624DE5}" presName="rootText" presStyleLbl="node3" presStyleIdx="10" presStyleCnt="18" custScaleY="163289">
        <dgm:presLayoutVars>
          <dgm:chPref val="3"/>
        </dgm:presLayoutVars>
      </dgm:prSet>
      <dgm:spPr>
        <a:prstGeom prst="roundRect">
          <a:avLst/>
        </a:prstGeom>
      </dgm:spPr>
      <dgm:t>
        <a:bodyPr/>
        <a:lstStyle/>
        <a:p>
          <a:endParaRPr lang="en-US"/>
        </a:p>
      </dgm:t>
    </dgm:pt>
    <dgm:pt modelId="{C032D471-E31D-BF47-90BC-0B75D3183438}" type="pres">
      <dgm:prSet presAssocID="{D388754C-8CDF-944F-81D9-734A1D624DE5}" presName="rootConnector" presStyleLbl="node3" presStyleIdx="10" presStyleCnt="18"/>
      <dgm:spPr/>
      <dgm:t>
        <a:bodyPr/>
        <a:lstStyle/>
        <a:p>
          <a:endParaRPr lang="en-US"/>
        </a:p>
      </dgm:t>
    </dgm:pt>
    <dgm:pt modelId="{50D7A7D7-B247-0241-B930-203B902594B5}" type="pres">
      <dgm:prSet presAssocID="{D388754C-8CDF-944F-81D9-734A1D624DE5}" presName="hierChild4" presStyleCnt="0"/>
      <dgm:spPr/>
    </dgm:pt>
    <dgm:pt modelId="{6067EBE2-5843-6D4C-941B-5FB3692E75F9}" type="pres">
      <dgm:prSet presAssocID="{D388754C-8CDF-944F-81D9-734A1D624DE5}" presName="hierChild5" presStyleCnt="0"/>
      <dgm:spPr/>
    </dgm:pt>
    <dgm:pt modelId="{EBF62F60-4DCC-6C46-AE65-EDFFE870F1F4}" type="pres">
      <dgm:prSet presAssocID="{BEEC9641-8114-8F4D-8D80-33DB53450849}" presName="Name37" presStyleLbl="parChTrans1D3" presStyleIdx="11" presStyleCnt="18" custSzY="6370837"/>
      <dgm:spPr/>
      <dgm:t>
        <a:bodyPr/>
        <a:lstStyle/>
        <a:p>
          <a:endParaRPr lang="en-US"/>
        </a:p>
      </dgm:t>
    </dgm:pt>
    <dgm:pt modelId="{93533B26-364F-014E-A891-6D8442BBCE18}" type="pres">
      <dgm:prSet presAssocID="{5959550F-67B9-B04E-91C4-902A91EFE7E5}" presName="hierRoot2" presStyleCnt="0">
        <dgm:presLayoutVars>
          <dgm:hierBranch val="init"/>
        </dgm:presLayoutVars>
      </dgm:prSet>
      <dgm:spPr/>
    </dgm:pt>
    <dgm:pt modelId="{DB4AF111-B912-8448-ABAC-05FC566DF87E}" type="pres">
      <dgm:prSet presAssocID="{5959550F-67B9-B04E-91C4-902A91EFE7E5}" presName="rootComposite" presStyleCnt="0"/>
      <dgm:spPr/>
    </dgm:pt>
    <dgm:pt modelId="{0B86221D-B7E4-B74C-ACB9-8C43A9AE47F7}" type="pres">
      <dgm:prSet presAssocID="{5959550F-67B9-B04E-91C4-902A91EFE7E5}" presName="rootText" presStyleLbl="node3" presStyleIdx="11" presStyleCnt="18" custScaleY="163289">
        <dgm:presLayoutVars>
          <dgm:chPref val="3"/>
        </dgm:presLayoutVars>
      </dgm:prSet>
      <dgm:spPr>
        <a:prstGeom prst="roundRect">
          <a:avLst/>
        </a:prstGeom>
      </dgm:spPr>
      <dgm:t>
        <a:bodyPr/>
        <a:lstStyle/>
        <a:p>
          <a:endParaRPr lang="en-US"/>
        </a:p>
      </dgm:t>
    </dgm:pt>
    <dgm:pt modelId="{B9CC71A5-3834-534E-9ECE-601DD70734B2}" type="pres">
      <dgm:prSet presAssocID="{5959550F-67B9-B04E-91C4-902A91EFE7E5}" presName="rootConnector" presStyleLbl="node3" presStyleIdx="11" presStyleCnt="18"/>
      <dgm:spPr/>
      <dgm:t>
        <a:bodyPr/>
        <a:lstStyle/>
        <a:p>
          <a:endParaRPr lang="en-US"/>
        </a:p>
      </dgm:t>
    </dgm:pt>
    <dgm:pt modelId="{22A0A11E-34BD-0442-BCA0-44161B492947}" type="pres">
      <dgm:prSet presAssocID="{5959550F-67B9-B04E-91C4-902A91EFE7E5}" presName="hierChild4" presStyleCnt="0"/>
      <dgm:spPr/>
    </dgm:pt>
    <dgm:pt modelId="{A1799FD4-5B2F-1C41-B7C0-8BBFCD6F98DD}" type="pres">
      <dgm:prSet presAssocID="{5959550F-67B9-B04E-91C4-902A91EFE7E5}" presName="hierChild5" presStyleCnt="0"/>
      <dgm:spPr/>
    </dgm:pt>
    <dgm:pt modelId="{9E34D8F1-0307-C841-BE9B-4EB460341C22}" type="pres">
      <dgm:prSet presAssocID="{49CB4C51-4B03-F94A-A9CC-2536C8F9270F}" presName="hierChild5" presStyleCnt="0"/>
      <dgm:spPr/>
    </dgm:pt>
    <dgm:pt modelId="{1480E8B4-F1B6-8246-9806-7D2D0CB68815}" type="pres">
      <dgm:prSet presAssocID="{F409B74A-4849-4F40-B00A-E62D8179565D}" presName="Name37" presStyleLbl="parChTrans1D2" presStyleIdx="4" presStyleCnt="6" custSzY="569430"/>
      <dgm:spPr/>
      <dgm:t>
        <a:bodyPr/>
        <a:lstStyle/>
        <a:p>
          <a:endParaRPr lang="en-US"/>
        </a:p>
      </dgm:t>
    </dgm:pt>
    <dgm:pt modelId="{38784AEE-09B7-0C47-8227-D02D0F1EDC40}" type="pres">
      <dgm:prSet presAssocID="{67FD2AD4-7083-B34B-8AB9-E13081EF86F9}" presName="hierRoot2" presStyleCnt="0">
        <dgm:presLayoutVars>
          <dgm:hierBranch val="init"/>
        </dgm:presLayoutVars>
      </dgm:prSet>
      <dgm:spPr/>
    </dgm:pt>
    <dgm:pt modelId="{1B5211C4-1365-1640-A178-1D467A02D08A}" type="pres">
      <dgm:prSet presAssocID="{67FD2AD4-7083-B34B-8AB9-E13081EF86F9}" presName="rootComposite" presStyleCnt="0"/>
      <dgm:spPr/>
    </dgm:pt>
    <dgm:pt modelId="{572E3CDC-5D66-514E-8912-D04551846EC7}" type="pres">
      <dgm:prSet presAssocID="{67FD2AD4-7083-B34B-8AB9-E13081EF86F9}" presName="rootText" presStyleLbl="node2" presStyleIdx="4" presStyleCnt="6" custScaleX="122545" custScaleY="163289">
        <dgm:presLayoutVars>
          <dgm:chPref val="3"/>
        </dgm:presLayoutVars>
      </dgm:prSet>
      <dgm:spPr>
        <a:prstGeom prst="roundRect">
          <a:avLst/>
        </a:prstGeom>
      </dgm:spPr>
      <dgm:t>
        <a:bodyPr/>
        <a:lstStyle/>
        <a:p>
          <a:endParaRPr lang="en-US"/>
        </a:p>
      </dgm:t>
    </dgm:pt>
    <dgm:pt modelId="{64829248-69CA-0B4E-875C-600221CC892E}" type="pres">
      <dgm:prSet presAssocID="{67FD2AD4-7083-B34B-8AB9-E13081EF86F9}" presName="rootConnector" presStyleLbl="node2" presStyleIdx="4" presStyleCnt="6"/>
      <dgm:spPr/>
      <dgm:t>
        <a:bodyPr/>
        <a:lstStyle/>
        <a:p>
          <a:endParaRPr lang="en-US"/>
        </a:p>
      </dgm:t>
    </dgm:pt>
    <dgm:pt modelId="{EB7C6A82-1BAB-C84F-ABFF-4175D1E01329}" type="pres">
      <dgm:prSet presAssocID="{67FD2AD4-7083-B34B-8AB9-E13081EF86F9}" presName="hierChild4" presStyleCnt="0"/>
      <dgm:spPr/>
    </dgm:pt>
    <dgm:pt modelId="{44F6E45F-C07E-304C-AB67-8E8552A42778}" type="pres">
      <dgm:prSet presAssocID="{D5307D3E-A636-324D-8C3A-9829230BB487}" presName="Name37" presStyleLbl="parChTrans1D3" presStyleIdx="12" presStyleCnt="18" custSzY="1501939"/>
      <dgm:spPr/>
      <dgm:t>
        <a:bodyPr/>
        <a:lstStyle/>
        <a:p>
          <a:endParaRPr lang="en-US"/>
        </a:p>
      </dgm:t>
    </dgm:pt>
    <dgm:pt modelId="{2208A308-1D10-494E-B09E-F544AF8068C3}" type="pres">
      <dgm:prSet presAssocID="{480C2FAB-0A28-DC43-92DE-A584FB0DAE31}" presName="hierRoot2" presStyleCnt="0">
        <dgm:presLayoutVars>
          <dgm:hierBranch val="init"/>
        </dgm:presLayoutVars>
      </dgm:prSet>
      <dgm:spPr/>
    </dgm:pt>
    <dgm:pt modelId="{52F1A2B4-5B26-7844-A417-F9A302DD4377}" type="pres">
      <dgm:prSet presAssocID="{480C2FAB-0A28-DC43-92DE-A584FB0DAE31}" presName="rootComposite" presStyleCnt="0"/>
      <dgm:spPr/>
    </dgm:pt>
    <dgm:pt modelId="{312925C6-1321-8C4D-8ECE-565EBD85AA53}" type="pres">
      <dgm:prSet presAssocID="{480C2FAB-0A28-DC43-92DE-A584FB0DAE31}" presName="rootText" presStyleLbl="node3" presStyleIdx="12" presStyleCnt="18" custScaleY="163289">
        <dgm:presLayoutVars>
          <dgm:chPref val="3"/>
        </dgm:presLayoutVars>
      </dgm:prSet>
      <dgm:spPr>
        <a:prstGeom prst="roundRect">
          <a:avLst/>
        </a:prstGeom>
      </dgm:spPr>
      <dgm:t>
        <a:bodyPr/>
        <a:lstStyle/>
        <a:p>
          <a:endParaRPr lang="en-US"/>
        </a:p>
      </dgm:t>
    </dgm:pt>
    <dgm:pt modelId="{51242648-056D-864F-A823-CF2B10E36DC5}" type="pres">
      <dgm:prSet presAssocID="{480C2FAB-0A28-DC43-92DE-A584FB0DAE31}" presName="rootConnector" presStyleLbl="node3" presStyleIdx="12" presStyleCnt="18"/>
      <dgm:spPr/>
      <dgm:t>
        <a:bodyPr/>
        <a:lstStyle/>
        <a:p>
          <a:endParaRPr lang="en-US"/>
        </a:p>
      </dgm:t>
    </dgm:pt>
    <dgm:pt modelId="{101F8E47-0BE7-944C-B421-13AA797AD0FE}" type="pres">
      <dgm:prSet presAssocID="{480C2FAB-0A28-DC43-92DE-A584FB0DAE31}" presName="hierChild4" presStyleCnt="0"/>
      <dgm:spPr/>
    </dgm:pt>
    <dgm:pt modelId="{63EE6A4D-0BB5-9F46-BC36-0F3CE16A1208}" type="pres">
      <dgm:prSet presAssocID="{480C2FAB-0A28-DC43-92DE-A584FB0DAE31}" presName="hierChild5" presStyleCnt="0"/>
      <dgm:spPr/>
    </dgm:pt>
    <dgm:pt modelId="{6440B106-7C72-9547-AE5A-A590A6A7292B}" type="pres">
      <dgm:prSet presAssocID="{411D2A1A-9B4A-674A-B93D-2C923CBCDFDB}" presName="Name37" presStyleLbl="parChTrans1D3" presStyleIdx="13" presStyleCnt="18" custSzY="3936388"/>
      <dgm:spPr/>
      <dgm:t>
        <a:bodyPr/>
        <a:lstStyle/>
        <a:p>
          <a:endParaRPr lang="en-US"/>
        </a:p>
      </dgm:t>
    </dgm:pt>
    <dgm:pt modelId="{BAC73BF8-8458-2342-9ECA-03ADDC1723E5}" type="pres">
      <dgm:prSet presAssocID="{73C75B63-3273-2346-8A61-65D3F5E8CBC0}" presName="hierRoot2" presStyleCnt="0">
        <dgm:presLayoutVars>
          <dgm:hierBranch val="init"/>
        </dgm:presLayoutVars>
      </dgm:prSet>
      <dgm:spPr/>
    </dgm:pt>
    <dgm:pt modelId="{0C073428-45A6-A444-B614-5DE374C411EB}" type="pres">
      <dgm:prSet presAssocID="{73C75B63-3273-2346-8A61-65D3F5E8CBC0}" presName="rootComposite" presStyleCnt="0"/>
      <dgm:spPr/>
    </dgm:pt>
    <dgm:pt modelId="{96DE10DD-2A27-1E4E-A6B9-8640BCC5A191}" type="pres">
      <dgm:prSet presAssocID="{73C75B63-3273-2346-8A61-65D3F5E8CBC0}" presName="rootText" presStyleLbl="node3" presStyleIdx="13" presStyleCnt="18" custScaleY="163289">
        <dgm:presLayoutVars>
          <dgm:chPref val="3"/>
        </dgm:presLayoutVars>
      </dgm:prSet>
      <dgm:spPr>
        <a:prstGeom prst="roundRect">
          <a:avLst/>
        </a:prstGeom>
      </dgm:spPr>
      <dgm:t>
        <a:bodyPr/>
        <a:lstStyle/>
        <a:p>
          <a:endParaRPr lang="en-US"/>
        </a:p>
      </dgm:t>
    </dgm:pt>
    <dgm:pt modelId="{8F158EFB-F898-3C42-9661-FD99398859DA}" type="pres">
      <dgm:prSet presAssocID="{73C75B63-3273-2346-8A61-65D3F5E8CBC0}" presName="rootConnector" presStyleLbl="node3" presStyleIdx="13" presStyleCnt="18"/>
      <dgm:spPr/>
      <dgm:t>
        <a:bodyPr/>
        <a:lstStyle/>
        <a:p>
          <a:endParaRPr lang="en-US"/>
        </a:p>
      </dgm:t>
    </dgm:pt>
    <dgm:pt modelId="{115DEFFC-01B6-BC42-A789-F0A80147F2CC}" type="pres">
      <dgm:prSet presAssocID="{73C75B63-3273-2346-8A61-65D3F5E8CBC0}" presName="hierChild4" presStyleCnt="0"/>
      <dgm:spPr/>
    </dgm:pt>
    <dgm:pt modelId="{B17F80B3-A6DC-D645-A595-41D80D4CE969}" type="pres">
      <dgm:prSet presAssocID="{73C75B63-3273-2346-8A61-65D3F5E8CBC0}" presName="hierChild5" presStyleCnt="0"/>
      <dgm:spPr/>
    </dgm:pt>
    <dgm:pt modelId="{65969C0C-C4EF-8044-B112-A2052B5FA261}" type="pres">
      <dgm:prSet presAssocID="{3096FC50-CDEA-CD40-A16C-4FE101488966}" presName="Name37" presStyleLbl="parChTrans1D3" presStyleIdx="14" presStyleCnt="18" custSzY="6370837"/>
      <dgm:spPr/>
      <dgm:t>
        <a:bodyPr/>
        <a:lstStyle/>
        <a:p>
          <a:endParaRPr lang="en-US"/>
        </a:p>
      </dgm:t>
    </dgm:pt>
    <dgm:pt modelId="{15CB5C64-C278-794E-82CF-052985D0BE92}" type="pres">
      <dgm:prSet presAssocID="{A53C0CFE-184A-1146-8FA6-FFD39694D4B0}" presName="hierRoot2" presStyleCnt="0">
        <dgm:presLayoutVars>
          <dgm:hierBranch val="init"/>
        </dgm:presLayoutVars>
      </dgm:prSet>
      <dgm:spPr/>
    </dgm:pt>
    <dgm:pt modelId="{BA365489-556A-C940-A00F-72AECC305955}" type="pres">
      <dgm:prSet presAssocID="{A53C0CFE-184A-1146-8FA6-FFD39694D4B0}" presName="rootComposite" presStyleCnt="0"/>
      <dgm:spPr/>
    </dgm:pt>
    <dgm:pt modelId="{210923D2-AC03-0946-B698-462DDD0B6542}" type="pres">
      <dgm:prSet presAssocID="{A53C0CFE-184A-1146-8FA6-FFD39694D4B0}" presName="rootText" presStyleLbl="node3" presStyleIdx="14" presStyleCnt="18" custScaleY="163289">
        <dgm:presLayoutVars>
          <dgm:chPref val="3"/>
        </dgm:presLayoutVars>
      </dgm:prSet>
      <dgm:spPr>
        <a:prstGeom prst="roundRect">
          <a:avLst/>
        </a:prstGeom>
      </dgm:spPr>
      <dgm:t>
        <a:bodyPr/>
        <a:lstStyle/>
        <a:p>
          <a:endParaRPr lang="en-US"/>
        </a:p>
      </dgm:t>
    </dgm:pt>
    <dgm:pt modelId="{2CA7FC21-BB86-E144-A530-0AA3F7C11ADE}" type="pres">
      <dgm:prSet presAssocID="{A53C0CFE-184A-1146-8FA6-FFD39694D4B0}" presName="rootConnector" presStyleLbl="node3" presStyleIdx="14" presStyleCnt="18"/>
      <dgm:spPr/>
      <dgm:t>
        <a:bodyPr/>
        <a:lstStyle/>
        <a:p>
          <a:endParaRPr lang="en-US"/>
        </a:p>
      </dgm:t>
    </dgm:pt>
    <dgm:pt modelId="{AB10E984-B840-EA4C-B0FD-663FD1FBE1EE}" type="pres">
      <dgm:prSet presAssocID="{A53C0CFE-184A-1146-8FA6-FFD39694D4B0}" presName="hierChild4" presStyleCnt="0"/>
      <dgm:spPr/>
    </dgm:pt>
    <dgm:pt modelId="{A0B7D572-0CBF-904A-8189-72905D552A09}" type="pres">
      <dgm:prSet presAssocID="{A53C0CFE-184A-1146-8FA6-FFD39694D4B0}" presName="hierChild5" presStyleCnt="0"/>
      <dgm:spPr/>
    </dgm:pt>
    <dgm:pt modelId="{0D4ABEBA-7F67-174B-9D14-25EB0F873638}" type="pres">
      <dgm:prSet presAssocID="{67FD2AD4-7083-B34B-8AB9-E13081EF86F9}" presName="hierChild5" presStyleCnt="0"/>
      <dgm:spPr/>
    </dgm:pt>
    <dgm:pt modelId="{FD0BC2B8-08A5-504D-8B97-A8DFE6F2353D}" type="pres">
      <dgm:prSet presAssocID="{E110FCDD-5DD2-7A49-B84B-225145A8853A}" presName="Name37" presStyleLbl="parChTrans1D2" presStyleIdx="5" presStyleCnt="6" custSzY="569430"/>
      <dgm:spPr/>
      <dgm:t>
        <a:bodyPr/>
        <a:lstStyle/>
        <a:p>
          <a:endParaRPr lang="en-US"/>
        </a:p>
      </dgm:t>
    </dgm:pt>
    <dgm:pt modelId="{4D65A84D-8A4B-FF46-8FC4-DF9823B8C901}" type="pres">
      <dgm:prSet presAssocID="{D069104F-4C0B-3147-953F-A5D93E0C8F12}" presName="hierRoot2" presStyleCnt="0">
        <dgm:presLayoutVars>
          <dgm:hierBranch val="init"/>
        </dgm:presLayoutVars>
      </dgm:prSet>
      <dgm:spPr/>
    </dgm:pt>
    <dgm:pt modelId="{03C01BD0-EEC3-1044-9FF9-FA46EBEE4A5A}" type="pres">
      <dgm:prSet presAssocID="{D069104F-4C0B-3147-953F-A5D93E0C8F12}" presName="rootComposite" presStyleCnt="0"/>
      <dgm:spPr/>
    </dgm:pt>
    <dgm:pt modelId="{0FE69002-AB56-3740-A6BE-C29542137A47}" type="pres">
      <dgm:prSet presAssocID="{D069104F-4C0B-3147-953F-A5D93E0C8F12}" presName="rootText" presStyleLbl="node2" presStyleIdx="5" presStyleCnt="6" custScaleX="122545" custScaleY="163289" custLinFactNeighborX="-2625" custLinFactNeighborY="783">
        <dgm:presLayoutVars>
          <dgm:chPref val="3"/>
        </dgm:presLayoutVars>
      </dgm:prSet>
      <dgm:spPr>
        <a:prstGeom prst="roundRect">
          <a:avLst/>
        </a:prstGeom>
      </dgm:spPr>
      <dgm:t>
        <a:bodyPr/>
        <a:lstStyle/>
        <a:p>
          <a:endParaRPr lang="en-US"/>
        </a:p>
      </dgm:t>
    </dgm:pt>
    <dgm:pt modelId="{78596C7B-EEAE-2041-808D-BB85B551442B}" type="pres">
      <dgm:prSet presAssocID="{D069104F-4C0B-3147-953F-A5D93E0C8F12}" presName="rootConnector" presStyleLbl="node2" presStyleIdx="5" presStyleCnt="6"/>
      <dgm:spPr/>
      <dgm:t>
        <a:bodyPr/>
        <a:lstStyle/>
        <a:p>
          <a:endParaRPr lang="en-US"/>
        </a:p>
      </dgm:t>
    </dgm:pt>
    <dgm:pt modelId="{5D17771E-4B1E-524B-BB1A-B729F8A623F9}" type="pres">
      <dgm:prSet presAssocID="{D069104F-4C0B-3147-953F-A5D93E0C8F12}" presName="hierChild4" presStyleCnt="0"/>
      <dgm:spPr/>
    </dgm:pt>
    <dgm:pt modelId="{18EACF5C-66CA-3E4D-8C5C-FF5941FDB285}" type="pres">
      <dgm:prSet presAssocID="{2D781344-65A3-CC42-AE48-89E6ECA195E3}" presName="Name37" presStyleLbl="parChTrans1D3" presStyleIdx="15" presStyleCnt="18" custSzY="1501939"/>
      <dgm:spPr/>
      <dgm:t>
        <a:bodyPr/>
        <a:lstStyle/>
        <a:p>
          <a:endParaRPr lang="en-US"/>
        </a:p>
      </dgm:t>
    </dgm:pt>
    <dgm:pt modelId="{6C7DB993-CCDC-324F-8775-E1F06DD4FFD7}" type="pres">
      <dgm:prSet presAssocID="{C3ACB4D6-7889-774B-A5F7-FFA378C074CF}" presName="hierRoot2" presStyleCnt="0">
        <dgm:presLayoutVars>
          <dgm:hierBranch val="init"/>
        </dgm:presLayoutVars>
      </dgm:prSet>
      <dgm:spPr/>
    </dgm:pt>
    <dgm:pt modelId="{D4DA819A-9F1A-9344-ADAA-3A8DDECA6851}" type="pres">
      <dgm:prSet presAssocID="{C3ACB4D6-7889-774B-A5F7-FFA378C074CF}" presName="rootComposite" presStyleCnt="0"/>
      <dgm:spPr/>
    </dgm:pt>
    <dgm:pt modelId="{3F382FC2-12CB-D943-89ED-75CADBE6B2B9}" type="pres">
      <dgm:prSet presAssocID="{C3ACB4D6-7889-774B-A5F7-FFA378C074CF}" presName="rootText" presStyleLbl="node3" presStyleIdx="15" presStyleCnt="18" custScaleY="163289">
        <dgm:presLayoutVars>
          <dgm:chPref val="3"/>
        </dgm:presLayoutVars>
      </dgm:prSet>
      <dgm:spPr>
        <a:prstGeom prst="roundRect">
          <a:avLst/>
        </a:prstGeom>
      </dgm:spPr>
      <dgm:t>
        <a:bodyPr/>
        <a:lstStyle/>
        <a:p>
          <a:endParaRPr lang="en-US"/>
        </a:p>
      </dgm:t>
    </dgm:pt>
    <dgm:pt modelId="{A9018DA5-07A6-1047-8906-D5CEBD268137}" type="pres">
      <dgm:prSet presAssocID="{C3ACB4D6-7889-774B-A5F7-FFA378C074CF}" presName="rootConnector" presStyleLbl="node3" presStyleIdx="15" presStyleCnt="18"/>
      <dgm:spPr/>
      <dgm:t>
        <a:bodyPr/>
        <a:lstStyle/>
        <a:p>
          <a:endParaRPr lang="en-US"/>
        </a:p>
      </dgm:t>
    </dgm:pt>
    <dgm:pt modelId="{B5813A8B-06F6-9048-B681-BC00AA738FE4}" type="pres">
      <dgm:prSet presAssocID="{C3ACB4D6-7889-774B-A5F7-FFA378C074CF}" presName="hierChild4" presStyleCnt="0"/>
      <dgm:spPr/>
    </dgm:pt>
    <dgm:pt modelId="{95C46E87-2E48-C342-A249-297A911EA1BF}" type="pres">
      <dgm:prSet presAssocID="{C3ACB4D6-7889-774B-A5F7-FFA378C074CF}" presName="hierChild5" presStyleCnt="0"/>
      <dgm:spPr/>
    </dgm:pt>
    <dgm:pt modelId="{CE80B93D-D000-8B4B-8100-E0B67DB0E877}" type="pres">
      <dgm:prSet presAssocID="{9197C098-8C8E-D049-B974-F3A046C386B0}" presName="Name37" presStyleLbl="parChTrans1D3" presStyleIdx="16" presStyleCnt="18" custSzY="3936388"/>
      <dgm:spPr/>
      <dgm:t>
        <a:bodyPr/>
        <a:lstStyle/>
        <a:p>
          <a:endParaRPr lang="en-US"/>
        </a:p>
      </dgm:t>
    </dgm:pt>
    <dgm:pt modelId="{135F96AC-C0EB-DF47-A8C8-A7B4CD21E5E7}" type="pres">
      <dgm:prSet presAssocID="{02A61A4C-1F65-A841-A4A7-C10C1A746FA0}" presName="hierRoot2" presStyleCnt="0">
        <dgm:presLayoutVars>
          <dgm:hierBranch val="init"/>
        </dgm:presLayoutVars>
      </dgm:prSet>
      <dgm:spPr/>
    </dgm:pt>
    <dgm:pt modelId="{211E14D2-36F3-F344-B001-DAEE9207C99A}" type="pres">
      <dgm:prSet presAssocID="{02A61A4C-1F65-A841-A4A7-C10C1A746FA0}" presName="rootComposite" presStyleCnt="0"/>
      <dgm:spPr/>
    </dgm:pt>
    <dgm:pt modelId="{EA99EEAC-15F9-BB4A-A17F-8DF66EAF1CDC}" type="pres">
      <dgm:prSet presAssocID="{02A61A4C-1F65-A841-A4A7-C10C1A746FA0}" presName="rootText" presStyleLbl="node3" presStyleIdx="16" presStyleCnt="18" custScaleY="163289">
        <dgm:presLayoutVars>
          <dgm:chPref val="3"/>
        </dgm:presLayoutVars>
      </dgm:prSet>
      <dgm:spPr>
        <a:prstGeom prst="roundRect">
          <a:avLst/>
        </a:prstGeom>
      </dgm:spPr>
      <dgm:t>
        <a:bodyPr/>
        <a:lstStyle/>
        <a:p>
          <a:endParaRPr lang="en-US"/>
        </a:p>
      </dgm:t>
    </dgm:pt>
    <dgm:pt modelId="{AF27EFD7-AEE3-5142-9BFD-36D0D1B36002}" type="pres">
      <dgm:prSet presAssocID="{02A61A4C-1F65-A841-A4A7-C10C1A746FA0}" presName="rootConnector" presStyleLbl="node3" presStyleIdx="16" presStyleCnt="18"/>
      <dgm:spPr/>
      <dgm:t>
        <a:bodyPr/>
        <a:lstStyle/>
        <a:p>
          <a:endParaRPr lang="en-US"/>
        </a:p>
      </dgm:t>
    </dgm:pt>
    <dgm:pt modelId="{9C8E7226-45B7-4C4E-9BE3-277B0CB35A46}" type="pres">
      <dgm:prSet presAssocID="{02A61A4C-1F65-A841-A4A7-C10C1A746FA0}" presName="hierChild4" presStyleCnt="0"/>
      <dgm:spPr/>
    </dgm:pt>
    <dgm:pt modelId="{B654A497-F541-7549-BE0E-498FA6C82A50}" type="pres">
      <dgm:prSet presAssocID="{02A61A4C-1F65-A841-A4A7-C10C1A746FA0}" presName="hierChild5" presStyleCnt="0"/>
      <dgm:spPr/>
    </dgm:pt>
    <dgm:pt modelId="{EE101F31-B493-FC4F-BA98-4DA93A046699}" type="pres">
      <dgm:prSet presAssocID="{9ACF3F41-8BA2-7647-A016-D4E5A2A50965}" presName="Name37" presStyleLbl="parChTrans1D3" presStyleIdx="17" presStyleCnt="18" custSzY="6370837"/>
      <dgm:spPr/>
      <dgm:t>
        <a:bodyPr/>
        <a:lstStyle/>
        <a:p>
          <a:endParaRPr lang="en-US"/>
        </a:p>
      </dgm:t>
    </dgm:pt>
    <dgm:pt modelId="{743FC97E-EDF8-8440-9167-2FF59851F03F}" type="pres">
      <dgm:prSet presAssocID="{6308DAA9-F7A4-2D4C-A7FF-EBCD8392D5BE}" presName="hierRoot2" presStyleCnt="0">
        <dgm:presLayoutVars>
          <dgm:hierBranch val="init"/>
        </dgm:presLayoutVars>
      </dgm:prSet>
      <dgm:spPr/>
    </dgm:pt>
    <dgm:pt modelId="{72E8E29A-9051-694D-A417-CE6EE9089A15}" type="pres">
      <dgm:prSet presAssocID="{6308DAA9-F7A4-2D4C-A7FF-EBCD8392D5BE}" presName="rootComposite" presStyleCnt="0"/>
      <dgm:spPr/>
    </dgm:pt>
    <dgm:pt modelId="{72D53164-9DF1-584A-A8A9-A81741EC7864}" type="pres">
      <dgm:prSet presAssocID="{6308DAA9-F7A4-2D4C-A7FF-EBCD8392D5BE}" presName="rootText" presStyleLbl="node3" presStyleIdx="17" presStyleCnt="18" custScaleY="163289">
        <dgm:presLayoutVars>
          <dgm:chPref val="3"/>
        </dgm:presLayoutVars>
      </dgm:prSet>
      <dgm:spPr>
        <a:prstGeom prst="roundRect">
          <a:avLst/>
        </a:prstGeom>
      </dgm:spPr>
      <dgm:t>
        <a:bodyPr/>
        <a:lstStyle/>
        <a:p>
          <a:endParaRPr lang="en-US"/>
        </a:p>
      </dgm:t>
    </dgm:pt>
    <dgm:pt modelId="{5108E4B9-C933-084B-87BD-17BA21FAC394}" type="pres">
      <dgm:prSet presAssocID="{6308DAA9-F7A4-2D4C-A7FF-EBCD8392D5BE}" presName="rootConnector" presStyleLbl="node3" presStyleIdx="17" presStyleCnt="18"/>
      <dgm:spPr/>
      <dgm:t>
        <a:bodyPr/>
        <a:lstStyle/>
        <a:p>
          <a:endParaRPr lang="en-US"/>
        </a:p>
      </dgm:t>
    </dgm:pt>
    <dgm:pt modelId="{649410E7-1B76-0045-8BBB-B901D379D30D}" type="pres">
      <dgm:prSet presAssocID="{6308DAA9-F7A4-2D4C-A7FF-EBCD8392D5BE}" presName="hierChild4" presStyleCnt="0"/>
      <dgm:spPr/>
    </dgm:pt>
    <dgm:pt modelId="{71FE410D-3141-9A4F-B3B0-E72482DDAA9E}" type="pres">
      <dgm:prSet presAssocID="{6308DAA9-F7A4-2D4C-A7FF-EBCD8392D5BE}" presName="hierChild5" presStyleCnt="0"/>
      <dgm:spPr/>
    </dgm:pt>
    <dgm:pt modelId="{563039BE-2DC6-AF4D-A183-8E60493152DD}" type="pres">
      <dgm:prSet presAssocID="{D069104F-4C0B-3147-953F-A5D93E0C8F12}" presName="hierChild5" presStyleCnt="0"/>
      <dgm:spPr/>
    </dgm:pt>
    <dgm:pt modelId="{42EF44E0-7DBD-CF4E-9797-0AB81CD9C8EC}" type="pres">
      <dgm:prSet presAssocID="{25517EF2-3665-EB4B-9D7F-2C037C685C4E}" presName="hierChild3" presStyleCnt="0"/>
      <dgm:spPr/>
    </dgm:pt>
  </dgm:ptLst>
  <dgm:cxnLst>
    <dgm:cxn modelId="{B03B2853-7799-6542-973F-38921B9C59DC}" srcId="{D069104F-4C0B-3147-953F-A5D93E0C8F12}" destId="{C3ACB4D6-7889-774B-A5F7-FFA378C074CF}" srcOrd="0" destOrd="0" parTransId="{2D781344-65A3-CC42-AE48-89E6ECA195E3}" sibTransId="{D38DE1B7-1B09-0E49-ACB8-C9CFDEF1647E}"/>
    <dgm:cxn modelId="{5F5E0269-DD2F-024B-A778-2C972529AD02}" type="presOf" srcId="{5959550F-67B9-B04E-91C4-902A91EFE7E5}" destId="{B9CC71A5-3834-534E-9ECE-601DD70734B2}" srcOrd="1" destOrd="0" presId="urn:microsoft.com/office/officeart/2005/8/layout/orgChart1"/>
    <dgm:cxn modelId="{3A2299A0-A0FA-6240-871D-982F54959DD5}" type="presOf" srcId="{D069104F-4C0B-3147-953F-A5D93E0C8F12}" destId="{78596C7B-EEAE-2041-808D-BB85B551442B}" srcOrd="1" destOrd="0" presId="urn:microsoft.com/office/officeart/2005/8/layout/orgChart1"/>
    <dgm:cxn modelId="{DE82662A-7317-3A44-9B7E-83AB1D77A8E6}" srcId="{67FD2AD4-7083-B34B-8AB9-E13081EF86F9}" destId="{73C75B63-3273-2346-8A61-65D3F5E8CBC0}" srcOrd="1" destOrd="0" parTransId="{411D2A1A-9B4A-674A-B93D-2C923CBCDFDB}" sibTransId="{0DA3E687-69A2-C040-A91D-CC726019B849}"/>
    <dgm:cxn modelId="{3C52D637-11E4-154D-9EC0-B217FE720190}" type="presOf" srcId="{02A61A4C-1F65-A841-A4A7-C10C1A746FA0}" destId="{AF27EFD7-AEE3-5142-9BFD-36D0D1B36002}" srcOrd="1" destOrd="0" presId="urn:microsoft.com/office/officeart/2005/8/layout/orgChart1"/>
    <dgm:cxn modelId="{53700430-2425-8A4C-9CC2-3F82ABA06980}" type="presOf" srcId="{480C2FAB-0A28-DC43-92DE-A584FB0DAE31}" destId="{312925C6-1321-8C4D-8ECE-565EBD85AA53}" srcOrd="0" destOrd="0" presId="urn:microsoft.com/office/officeart/2005/8/layout/orgChart1"/>
    <dgm:cxn modelId="{44982454-02A3-964A-A7E9-6B1BED7E6639}" srcId="{D069104F-4C0B-3147-953F-A5D93E0C8F12}" destId="{02A61A4C-1F65-A841-A4A7-C10C1A746FA0}" srcOrd="1" destOrd="0" parTransId="{9197C098-8C8E-D049-B974-F3A046C386B0}" sibTransId="{9C0643BD-024C-6945-806C-AD1907A088E2}"/>
    <dgm:cxn modelId="{42FDD865-AE5D-7645-AF6E-E08B55D75B89}" type="presOf" srcId="{7FF81494-F22E-3B4A-AE0B-9C51C4A0F12C}" destId="{D62CB30F-6901-594F-8775-B46F34227BC9}" srcOrd="0" destOrd="0" presId="urn:microsoft.com/office/officeart/2005/8/layout/orgChart1"/>
    <dgm:cxn modelId="{F9EEDC3A-34E3-8042-B6BE-3672B4AC79CE}" type="presOf" srcId="{BA6FF226-3807-2346-A740-CE3E60981FB3}" destId="{8C060B5F-BBBF-2049-9E6B-A69B2A074D8E}" srcOrd="1" destOrd="0" presId="urn:microsoft.com/office/officeart/2005/8/layout/orgChart1"/>
    <dgm:cxn modelId="{0A39CADD-CD32-8341-A8C1-BC11A7A7693D}" type="presOf" srcId="{A53C0CFE-184A-1146-8FA6-FFD39694D4B0}" destId="{2CA7FC21-BB86-E144-A530-0AA3F7C11ADE}" srcOrd="1" destOrd="0" presId="urn:microsoft.com/office/officeart/2005/8/layout/orgChart1"/>
    <dgm:cxn modelId="{E04C6730-3FFD-5D4B-985C-9C0A77B05039}" srcId="{4B26847B-222F-E04F-B93F-7958496DA65C}" destId="{C6588B98-FB28-334E-BDCA-56820ACB0569}" srcOrd="1" destOrd="0" parTransId="{3B5A4386-A293-8747-A207-2A8D5CABEA7A}" sibTransId="{1DAD777C-69EB-524E-B685-59D1A2C22C8E}"/>
    <dgm:cxn modelId="{95DF146B-F087-3D4D-A508-8ADFB9A26041}" type="presOf" srcId="{73C75B63-3273-2346-8A61-65D3F5E8CBC0}" destId="{96DE10DD-2A27-1E4E-A6B9-8640BCC5A191}" srcOrd="0" destOrd="0" presId="urn:microsoft.com/office/officeart/2005/8/layout/orgChart1"/>
    <dgm:cxn modelId="{C9486D0F-9BD5-CB42-8884-44CF7DE0E3C5}" type="presOf" srcId="{33424807-C11D-7C4A-85E7-BB0E19ACD352}" destId="{44E963F3-2784-9E43-9E90-000EB562AE2A}" srcOrd="0" destOrd="0" presId="urn:microsoft.com/office/officeart/2005/8/layout/orgChart1"/>
    <dgm:cxn modelId="{AE48EF53-B757-8847-A7EA-1C64EA106AE3}" type="presOf" srcId="{11B5AD18-48FD-6A4B-A82C-B8D0882BDFD5}" destId="{35D57237-8BFB-E945-A7A7-3C3A20E1DD9C}" srcOrd="1" destOrd="0" presId="urn:microsoft.com/office/officeart/2005/8/layout/orgChart1"/>
    <dgm:cxn modelId="{C722FA4F-0F4C-6843-AEAC-42EBAAAE8C40}" type="presOf" srcId="{6308DAA9-F7A4-2D4C-A7FF-EBCD8392D5BE}" destId="{5108E4B9-C933-084B-87BD-17BA21FAC394}" srcOrd="1" destOrd="0" presId="urn:microsoft.com/office/officeart/2005/8/layout/orgChart1"/>
    <dgm:cxn modelId="{2B4BD642-DB63-9941-B96A-5C6030597B47}" type="presOf" srcId="{5B4F3E0D-971E-3647-86E4-6868F203DC2B}" destId="{8249A152-56BE-E046-8A45-0C56C7C1D191}" srcOrd="1" destOrd="0" presId="urn:microsoft.com/office/officeart/2005/8/layout/orgChart1"/>
    <dgm:cxn modelId="{8EA638D7-7A28-B24A-B7F1-1A5383F448C2}" type="presOf" srcId="{76C0524B-EDDB-FA4A-A6A1-2FDCA1EEFA25}" destId="{129F0079-A483-7E48-A321-97C36DBA0475}" srcOrd="0" destOrd="0" presId="urn:microsoft.com/office/officeart/2005/8/layout/orgChart1"/>
    <dgm:cxn modelId="{8EF3F247-2832-504E-8E6D-ECD3FFE41BD9}" type="presOf" srcId="{F35DDD95-A0E8-D04C-90F4-7D2AE6A0AF8D}" destId="{910491EA-604E-6842-9866-DF2E9CD33930}" srcOrd="0" destOrd="0" presId="urn:microsoft.com/office/officeart/2005/8/layout/orgChart1"/>
    <dgm:cxn modelId="{DF25B808-2C2E-AB4E-83C0-EA775FF39385}" type="presOf" srcId="{E110FCDD-5DD2-7A49-B84B-225145A8853A}" destId="{FD0BC2B8-08A5-504D-8B97-A8DFE6F2353D}" srcOrd="0" destOrd="0" presId="urn:microsoft.com/office/officeart/2005/8/layout/orgChart1"/>
    <dgm:cxn modelId="{C5ED539A-0585-6544-AB93-75D044498BB7}" type="presOf" srcId="{02A61A4C-1F65-A841-A4A7-C10C1A746FA0}" destId="{EA99EEAC-15F9-BB4A-A17F-8DF66EAF1CDC}" srcOrd="0" destOrd="0" presId="urn:microsoft.com/office/officeart/2005/8/layout/orgChart1"/>
    <dgm:cxn modelId="{FA33350B-047F-1E42-845D-621A7DAF2F1A}" type="presOf" srcId="{6ED0CB55-86AA-574C-ACD3-3B855323E998}" destId="{10D8D681-CBDA-D246-9198-063E1F1463D5}" srcOrd="1" destOrd="0" presId="urn:microsoft.com/office/officeart/2005/8/layout/orgChart1"/>
    <dgm:cxn modelId="{507A7539-079D-884C-A750-47DC0E0F2B5F}" srcId="{25517EF2-3665-EB4B-9D7F-2C037C685C4E}" destId="{5B4F3E0D-971E-3647-86E4-6868F203DC2B}" srcOrd="2" destOrd="0" parTransId="{F35DDD95-A0E8-D04C-90F4-7D2AE6A0AF8D}" sibTransId="{F173B29F-EA33-FF4F-8F61-60CD6EE8F154}"/>
    <dgm:cxn modelId="{2618F646-7BFB-5D4C-99BD-BA059763037B}" type="presOf" srcId="{1DF3C01B-2614-5C42-80DD-7422BFA9073B}" destId="{62108426-B799-194D-AB78-22283909E5A2}" srcOrd="1" destOrd="0" presId="urn:microsoft.com/office/officeart/2005/8/layout/orgChart1"/>
    <dgm:cxn modelId="{49FD6516-D93D-134E-A0C0-6AD4CBD8F9A6}" type="presOf" srcId="{5959550F-67B9-B04E-91C4-902A91EFE7E5}" destId="{0B86221D-B7E4-B74C-ACB9-8C43A9AE47F7}" srcOrd="0" destOrd="0" presId="urn:microsoft.com/office/officeart/2005/8/layout/orgChart1"/>
    <dgm:cxn modelId="{41138B47-C8FF-6945-B109-CBA4F5C2DC83}" type="presOf" srcId="{07AFA923-B56F-0042-B585-5B06F0FA0896}" destId="{0F5D9B2B-0CE6-4D47-A7B6-80BAEBDC59FC}" srcOrd="0" destOrd="0" presId="urn:microsoft.com/office/officeart/2005/8/layout/orgChart1"/>
    <dgm:cxn modelId="{32D5D0E6-C0AD-204B-A0BC-00337DDDB66E}" type="presOf" srcId="{964A5E62-97E7-C048-9268-0DD949F4134F}" destId="{7B5B0F12-5DDA-9943-9092-2A10F2FE9601}" srcOrd="0" destOrd="0" presId="urn:microsoft.com/office/officeart/2005/8/layout/orgChart1"/>
    <dgm:cxn modelId="{83403F33-677C-B94D-BD74-07ABFDF14D78}" type="presOf" srcId="{3B5A4386-A293-8747-A207-2A8D5CABEA7A}" destId="{88E2A4D5-E62D-B048-BDF2-2627D68216CE}" srcOrd="0" destOrd="0" presId="urn:microsoft.com/office/officeart/2005/8/layout/orgChart1"/>
    <dgm:cxn modelId="{7CDEBBA4-7E3C-AB4E-A0A4-6B45A69B9997}" type="presOf" srcId="{4BB222BF-BE28-4C47-9A72-39286C322445}" destId="{323D0151-0AF0-7A44-BCE6-C10462839127}" srcOrd="0" destOrd="0" presId="urn:microsoft.com/office/officeart/2005/8/layout/orgChart1"/>
    <dgm:cxn modelId="{C07CDC57-6368-A645-A95B-7D8FA3A74274}" type="presOf" srcId="{C6588B98-FB28-334E-BDCA-56820ACB0569}" destId="{CCA6A030-3016-FB4D-BB2D-797B6CA6511F}" srcOrd="1" destOrd="0" presId="urn:microsoft.com/office/officeart/2005/8/layout/orgChart1"/>
    <dgm:cxn modelId="{170D5CB6-39D9-EF40-86CB-D7C546D0F96C}" type="presOf" srcId="{8C2CA5B6-6500-9D43-9984-AE6727A18F74}" destId="{35471471-CB84-0746-BDD4-1655B6C5471A}" srcOrd="0" destOrd="0" presId="urn:microsoft.com/office/officeart/2005/8/layout/orgChart1"/>
    <dgm:cxn modelId="{1BA6F9EE-A2DD-0743-9AB9-02C159019733}" srcId="{25517EF2-3665-EB4B-9D7F-2C037C685C4E}" destId="{67FD2AD4-7083-B34B-8AB9-E13081EF86F9}" srcOrd="4" destOrd="0" parTransId="{F409B74A-4849-4F40-B00A-E62D8179565D}" sibTransId="{3897B640-7E39-3E42-96E9-264EBC4AEE1F}"/>
    <dgm:cxn modelId="{A4B92493-46F0-C545-811E-1AC2A7BECD01}" type="presOf" srcId="{25517EF2-3665-EB4B-9D7F-2C037C685C4E}" destId="{466535D8-AEE6-1D47-974F-880041EEEAA5}" srcOrd="1" destOrd="0" presId="urn:microsoft.com/office/officeart/2005/8/layout/orgChart1"/>
    <dgm:cxn modelId="{B00A64FC-E62B-0B48-B010-0717DFBC827A}" srcId="{AF3357FD-18B0-1644-966C-BCE3778B58DD}" destId="{25517EF2-3665-EB4B-9D7F-2C037C685C4E}" srcOrd="0" destOrd="0" parTransId="{D1D1E974-9AD9-1A42-A6F6-F902A49BDCFF}" sibTransId="{56D907EF-C84C-3B48-8C95-0AE5C1659474}"/>
    <dgm:cxn modelId="{C203B2CE-A917-214F-BBD3-F2AB2369303F}" type="presOf" srcId="{705E07FB-4646-5640-AD39-5663CA022EE0}" destId="{FCB70BC6-8BC2-7740-8498-E09039141FAE}" srcOrd="0" destOrd="0" presId="urn:microsoft.com/office/officeart/2005/8/layout/orgChart1"/>
    <dgm:cxn modelId="{CF4074DA-E686-5D49-A255-FBB7B766E6D6}" type="presOf" srcId="{67FD2AD4-7083-B34B-8AB9-E13081EF86F9}" destId="{64829248-69CA-0B4E-875C-600221CC892E}" srcOrd="1" destOrd="0" presId="urn:microsoft.com/office/officeart/2005/8/layout/orgChart1"/>
    <dgm:cxn modelId="{0A0EC45A-B6D3-834B-BE03-D869E0E92684}" type="presOf" srcId="{49CB4C51-4B03-F94A-A9CC-2536C8F9270F}" destId="{F63DB975-E825-ED40-9ED5-8EF8047133DC}" srcOrd="0" destOrd="0" presId="urn:microsoft.com/office/officeart/2005/8/layout/orgChart1"/>
    <dgm:cxn modelId="{567C4151-E086-6440-93D2-C44BC75B3D12}" srcId="{5B4F3E0D-971E-3647-86E4-6868F203DC2B}" destId="{11B5AD18-48FD-6A4B-A82C-B8D0882BDFD5}" srcOrd="1" destOrd="0" parTransId="{76C0524B-EDDB-FA4A-A6A1-2FDCA1EEFA25}" sibTransId="{F5E5DF55-1CB3-094F-AB65-827743BF210C}"/>
    <dgm:cxn modelId="{48E26F9B-3A9C-6845-AD08-D98F8B9CB8F9}" type="presOf" srcId="{1DF3C01B-2614-5C42-80DD-7422BFA9073B}" destId="{C8DB6E88-65AB-3947-BF5E-D30F973C203C}" srcOrd="0" destOrd="0" presId="urn:microsoft.com/office/officeart/2005/8/layout/orgChart1"/>
    <dgm:cxn modelId="{8F920AE9-1886-AC40-A98C-863F5AB3ABB2}" srcId="{25517EF2-3665-EB4B-9D7F-2C037C685C4E}" destId="{4B26847B-222F-E04F-B93F-7958496DA65C}" srcOrd="0" destOrd="0" parTransId="{07AFA923-B56F-0042-B585-5B06F0FA0896}" sibTransId="{EF2C2E1F-9C59-4E44-9BFF-B9B74523D935}"/>
    <dgm:cxn modelId="{6395D2D6-9093-984B-BF32-B7A82BED7ADA}" srcId="{49CB4C51-4B03-F94A-A9CC-2536C8F9270F}" destId="{D388754C-8CDF-944F-81D9-734A1D624DE5}" srcOrd="1" destOrd="0" parTransId="{7D0C8FC0-2822-5146-86DC-E862D57D28F7}" sibTransId="{06E79FDE-5F09-BB4D-B6D0-7AB67CB26B63}"/>
    <dgm:cxn modelId="{093DFD99-0409-0D42-9294-39DD976BD5A6}" type="presOf" srcId="{1A5ABF02-3DC0-3F46-89A6-D4A83DB904D1}" destId="{C8CB1346-EB34-094E-8B3A-28042614FB03}" srcOrd="1" destOrd="0" presId="urn:microsoft.com/office/officeart/2005/8/layout/orgChart1"/>
    <dgm:cxn modelId="{9AB54B02-1C7E-8D47-960A-BF42806A0D88}" type="presOf" srcId="{9197C098-8C8E-D049-B974-F3A046C386B0}" destId="{CE80B93D-D000-8B4B-8100-E0B67DB0E877}" srcOrd="0" destOrd="0" presId="urn:microsoft.com/office/officeart/2005/8/layout/orgChart1"/>
    <dgm:cxn modelId="{67F6D5E6-D4D3-DB49-B00F-DD357536457A}" type="presOf" srcId="{14A9B10A-492B-F046-AA45-A18CECB57509}" destId="{BD45870A-B3FE-4649-A1E8-44ABA898ACEB}" srcOrd="0" destOrd="0" presId="urn:microsoft.com/office/officeart/2005/8/layout/orgChart1"/>
    <dgm:cxn modelId="{B456C1ED-CE32-F147-B0E7-907F06C4219F}" srcId="{25517EF2-3665-EB4B-9D7F-2C037C685C4E}" destId="{D069104F-4C0B-3147-953F-A5D93E0C8F12}" srcOrd="5" destOrd="0" parTransId="{E110FCDD-5DD2-7A49-B84B-225145A8853A}" sibTransId="{39A089AB-A795-484A-A4A6-264956AD86C0}"/>
    <dgm:cxn modelId="{65F809E6-B249-9449-9FDD-E37C8F912C93}" type="presOf" srcId="{537E3EB2-8400-9F46-8E14-018A525A6F13}" destId="{6CD5F04D-881E-FF45-840F-9065F725359E}" srcOrd="0" destOrd="0" presId="urn:microsoft.com/office/officeart/2005/8/layout/orgChart1"/>
    <dgm:cxn modelId="{219BA358-66B7-0F44-B8A3-21E80178ACCF}" srcId="{25517EF2-3665-EB4B-9D7F-2C037C685C4E}" destId="{C70D9AAD-288E-0B4A-A4D2-9169EEB4C5EF}" srcOrd="1" destOrd="0" parTransId="{F5F28F68-69DA-C347-938A-3CCF605B29AB}" sibTransId="{6A1A54A5-98A7-FF49-9699-4CB4608AB21F}"/>
    <dgm:cxn modelId="{2DB5EFD8-AA35-3D44-982F-3C839A1C30C0}" srcId="{4B26847B-222F-E04F-B93F-7958496DA65C}" destId="{6ED0CB55-86AA-574C-ACD3-3B855323E998}" srcOrd="2" destOrd="0" parTransId="{7D0052A5-00E7-E545-B888-401A40246FF3}" sibTransId="{29D931B7-5EF3-7C46-8DD6-E1AF7D9AF902}"/>
    <dgm:cxn modelId="{A3DEF5DD-4DA5-064F-9A64-A11BE283B5FA}" srcId="{4B26847B-222F-E04F-B93F-7958496DA65C}" destId="{50B35D2E-59F3-7346-A146-7B84569A5183}" srcOrd="0" destOrd="0" parTransId="{33424807-C11D-7C4A-85E7-BB0E19ACD352}" sibTransId="{FD010288-FF0D-2D49-A5AC-435BA24A2550}"/>
    <dgm:cxn modelId="{1AFFAE5B-C4D2-C641-91BB-2A12FDD508D8}" type="presOf" srcId="{8C2CA5B6-6500-9D43-9984-AE6727A18F74}" destId="{BF48F31E-442A-8542-BEC6-8A1283ECC0DC}" srcOrd="1" destOrd="0" presId="urn:microsoft.com/office/officeart/2005/8/layout/orgChart1"/>
    <dgm:cxn modelId="{BAADB41F-D3DD-094B-819A-2B12EFDA952B}" type="presOf" srcId="{49CB4C51-4B03-F94A-A9CC-2536C8F9270F}" destId="{448BE257-6BD3-154B-8455-7442213A9C1F}" srcOrd="1" destOrd="0" presId="urn:microsoft.com/office/officeart/2005/8/layout/orgChart1"/>
    <dgm:cxn modelId="{9A43DC00-7CFB-E944-A61A-772AC3B1A419}" srcId="{25517EF2-3665-EB4B-9D7F-2C037C685C4E}" destId="{49CB4C51-4B03-F94A-A9CC-2536C8F9270F}" srcOrd="3" destOrd="0" parTransId="{4BB222BF-BE28-4C47-9A72-39286C322445}" sibTransId="{B9C2BE04-1365-0646-9A8C-152868F5C0E7}"/>
    <dgm:cxn modelId="{A36B01A2-EF46-2B4A-B4B9-5FCB9A2315D0}" srcId="{49CB4C51-4B03-F94A-A9CC-2536C8F9270F}" destId="{14A9B10A-492B-F046-AA45-A18CECB57509}" srcOrd="0" destOrd="0" parTransId="{964A5E62-97E7-C048-9268-0DD949F4134F}" sibTransId="{7A26E861-AF89-6F4A-88AE-4CE5F18F3043}"/>
    <dgm:cxn modelId="{7D8294E6-07BD-5D4C-9ACF-8116659315FA}" srcId="{5B4F3E0D-971E-3647-86E4-6868F203DC2B}" destId="{1A5ABF02-3DC0-3F46-89A6-D4A83DB904D1}" srcOrd="0" destOrd="0" parTransId="{7FF81494-F22E-3B4A-AE0B-9C51C4A0F12C}" sibTransId="{CD3754BE-0B21-2447-82D0-254D5E91DDB9}"/>
    <dgm:cxn modelId="{F9576665-BCA7-CF4A-9A56-E3B7F8A06086}" type="presOf" srcId="{3096FC50-CDEA-CD40-A16C-4FE101488966}" destId="{65969C0C-C4EF-8044-B112-A2052B5FA261}" srcOrd="0" destOrd="0" presId="urn:microsoft.com/office/officeart/2005/8/layout/orgChart1"/>
    <dgm:cxn modelId="{D3656547-4FE9-5C46-8AF9-1BAE6BBB3612}" srcId="{5B4F3E0D-971E-3647-86E4-6868F203DC2B}" destId="{1DF3C01B-2614-5C42-80DD-7422BFA9073B}" srcOrd="2" destOrd="0" parTransId="{EFC072AF-A0F9-2340-A2B6-3F5834C6C0F3}" sibTransId="{036CF8FE-F202-7F4F-841D-5436F4E76D0C}"/>
    <dgm:cxn modelId="{E14E92F6-6E2A-F14E-8AF5-1768A5A643F9}" type="presOf" srcId="{5B4F3E0D-971E-3647-86E4-6868F203DC2B}" destId="{C98D4C05-6DFD-F848-8831-CA53C562EFA9}" srcOrd="0" destOrd="0" presId="urn:microsoft.com/office/officeart/2005/8/layout/orgChart1"/>
    <dgm:cxn modelId="{E8D3F3DB-C9BB-4F45-8AA5-0295F5D36E21}" type="presOf" srcId="{73C75B63-3273-2346-8A61-65D3F5E8CBC0}" destId="{8F158EFB-F898-3C42-9661-FD99398859DA}" srcOrd="1" destOrd="0" presId="urn:microsoft.com/office/officeart/2005/8/layout/orgChart1"/>
    <dgm:cxn modelId="{38A3CEEA-1A8B-3949-A68C-66DA4E98B012}" type="presOf" srcId="{D069104F-4C0B-3147-953F-A5D93E0C8F12}" destId="{0FE69002-AB56-3740-A6BE-C29542137A47}" srcOrd="0" destOrd="0" presId="urn:microsoft.com/office/officeart/2005/8/layout/orgChart1"/>
    <dgm:cxn modelId="{20719F90-EF29-C343-8639-0A67895FA954}" type="presOf" srcId="{D388754C-8CDF-944F-81D9-734A1D624DE5}" destId="{C032D471-E31D-BF47-90BC-0B75D3183438}" srcOrd="1" destOrd="0" presId="urn:microsoft.com/office/officeart/2005/8/layout/orgChart1"/>
    <dgm:cxn modelId="{F59B35E9-CB51-C84A-937D-BC81613788BB}" type="presOf" srcId="{338A4ADE-7A0B-DA46-A749-6378547614AE}" destId="{CD5ED238-8A46-9548-AD80-16CB05272A14}" srcOrd="1" destOrd="0" presId="urn:microsoft.com/office/officeart/2005/8/layout/orgChart1"/>
    <dgm:cxn modelId="{FF5ABE1F-82D7-2749-A905-EED4163BAFDB}" type="presOf" srcId="{C6588B98-FB28-334E-BDCA-56820ACB0569}" destId="{3B98D480-5A9A-0A4D-8BDC-FE216FA48EE4}" srcOrd="0" destOrd="0" presId="urn:microsoft.com/office/officeart/2005/8/layout/orgChart1"/>
    <dgm:cxn modelId="{F13AB6CA-22DF-2640-983A-508354BF7CA7}" type="presOf" srcId="{50B35D2E-59F3-7346-A146-7B84569A5183}" destId="{2ED78204-93EC-064C-823A-1586CD82394C}" srcOrd="0" destOrd="0" presId="urn:microsoft.com/office/officeart/2005/8/layout/orgChart1"/>
    <dgm:cxn modelId="{78FA34E4-CA24-524C-8CB7-ADC89173095C}" type="presOf" srcId="{C3ACB4D6-7889-774B-A5F7-FFA378C074CF}" destId="{3F382FC2-12CB-D943-89ED-75CADBE6B2B9}" srcOrd="0" destOrd="0" presId="urn:microsoft.com/office/officeart/2005/8/layout/orgChart1"/>
    <dgm:cxn modelId="{F5DF90F2-A702-2949-8F8D-32D6A566FF79}" type="presOf" srcId="{C70D9AAD-288E-0B4A-A4D2-9169EEB4C5EF}" destId="{A8476105-19F1-B646-B233-7DFE7667D28F}" srcOrd="1" destOrd="0" presId="urn:microsoft.com/office/officeart/2005/8/layout/orgChart1"/>
    <dgm:cxn modelId="{343A7557-110A-6E4D-B275-B7A939A2972B}" type="presOf" srcId="{D388754C-8CDF-944F-81D9-734A1D624DE5}" destId="{667C8B84-66F0-D04D-AF88-0F329C747158}" srcOrd="0" destOrd="0" presId="urn:microsoft.com/office/officeart/2005/8/layout/orgChart1"/>
    <dgm:cxn modelId="{754F6F21-2B4B-4F47-82CF-AE57246AB88B}" type="presOf" srcId="{C70D9AAD-288E-0B4A-A4D2-9169EEB4C5EF}" destId="{6A1B3FF2-4302-AB42-9144-D0C7AF33189D}" srcOrd="0" destOrd="0" presId="urn:microsoft.com/office/officeart/2005/8/layout/orgChart1"/>
    <dgm:cxn modelId="{2BF524E2-1BD9-DA47-8878-2D47CE1636A8}" srcId="{C70D9AAD-288E-0B4A-A4D2-9169EEB4C5EF}" destId="{8C2CA5B6-6500-9D43-9984-AE6727A18F74}" srcOrd="1" destOrd="0" parTransId="{537E3EB2-8400-9F46-8E14-018A525A6F13}" sibTransId="{B03FC588-7422-B345-AC2A-404830D942A9}"/>
    <dgm:cxn modelId="{E228CA4A-B13B-EF41-B155-EBF24F92141D}" type="presOf" srcId="{F409B74A-4849-4F40-B00A-E62D8179565D}" destId="{1480E8B4-F1B6-8246-9806-7D2D0CB68815}" srcOrd="0" destOrd="0" presId="urn:microsoft.com/office/officeart/2005/8/layout/orgChart1"/>
    <dgm:cxn modelId="{DE475260-3A92-934F-B6B6-0F0EE16460F4}" srcId="{67FD2AD4-7083-B34B-8AB9-E13081EF86F9}" destId="{A53C0CFE-184A-1146-8FA6-FFD39694D4B0}" srcOrd="2" destOrd="0" parTransId="{3096FC50-CDEA-CD40-A16C-4FE101488966}" sibTransId="{713A8226-1B84-4E41-A1CB-EBD5E7CFFDE7}"/>
    <dgm:cxn modelId="{765F496A-DF0A-D340-82AA-515F7E305441}" srcId="{49CB4C51-4B03-F94A-A9CC-2536C8F9270F}" destId="{5959550F-67B9-B04E-91C4-902A91EFE7E5}" srcOrd="2" destOrd="0" parTransId="{BEEC9641-8114-8F4D-8D80-33DB53450849}" sibTransId="{13323021-6798-904F-A2E1-2BF25AC8C76A}"/>
    <dgm:cxn modelId="{ACA68BA4-2884-9D41-8595-1867A70CDDE9}" type="presOf" srcId="{BA6FF226-3807-2346-A740-CE3E60981FB3}" destId="{22959F47-69F7-D445-9334-5C7C176A2653}" srcOrd="0" destOrd="0" presId="urn:microsoft.com/office/officeart/2005/8/layout/orgChart1"/>
    <dgm:cxn modelId="{9DCEB7C2-5238-0947-8239-2CBBBAC102FA}" type="presOf" srcId="{67FD2AD4-7083-B34B-8AB9-E13081EF86F9}" destId="{572E3CDC-5D66-514E-8912-D04551846EC7}" srcOrd="0" destOrd="0" presId="urn:microsoft.com/office/officeart/2005/8/layout/orgChart1"/>
    <dgm:cxn modelId="{04F6A690-CD25-0141-900E-C3DE3FD42D60}" type="presOf" srcId="{4B26847B-222F-E04F-B93F-7958496DA65C}" destId="{A7DBADC9-C072-5C48-A3E3-552A2F42BAEE}" srcOrd="1" destOrd="0" presId="urn:microsoft.com/office/officeart/2005/8/layout/orgChart1"/>
    <dgm:cxn modelId="{4C4FAA6A-FB05-D740-AF92-B5A4CD82B0CC}" srcId="{D069104F-4C0B-3147-953F-A5D93E0C8F12}" destId="{6308DAA9-F7A4-2D4C-A7FF-EBCD8392D5BE}" srcOrd="2" destOrd="0" parTransId="{9ACF3F41-8BA2-7647-A016-D4E5A2A50965}" sibTransId="{2541B10E-6F92-C44B-974B-71F50AD1905E}"/>
    <dgm:cxn modelId="{211BEE86-1561-C349-8522-9CD004A4374D}" type="presOf" srcId="{EFC072AF-A0F9-2340-A2B6-3F5834C6C0F3}" destId="{5030E2EE-B0D1-364F-B6DF-876E246B6AE1}" srcOrd="0" destOrd="0" presId="urn:microsoft.com/office/officeart/2005/8/layout/orgChart1"/>
    <dgm:cxn modelId="{7685185E-809F-8C48-8DF5-50EA1CDCFFA0}" type="presOf" srcId="{9ACF3F41-8BA2-7647-A016-D4E5A2A50965}" destId="{EE101F31-B493-FC4F-BA98-4DA93A046699}" srcOrd="0" destOrd="0" presId="urn:microsoft.com/office/officeart/2005/8/layout/orgChart1"/>
    <dgm:cxn modelId="{98666717-6EB9-7242-9FDC-0CC75A2DBEDC}" type="presOf" srcId="{338A4ADE-7A0B-DA46-A749-6378547614AE}" destId="{9276651D-6194-EA49-8E09-02C1BFFFA9D5}" srcOrd="0" destOrd="0" presId="urn:microsoft.com/office/officeart/2005/8/layout/orgChart1"/>
    <dgm:cxn modelId="{4F00E388-C72F-E24D-B41C-C77F61A7A0A7}" srcId="{C70D9AAD-288E-0B4A-A4D2-9169EEB4C5EF}" destId="{BA6FF226-3807-2346-A740-CE3E60981FB3}" srcOrd="0" destOrd="0" parTransId="{705E07FB-4646-5640-AD39-5663CA022EE0}" sibTransId="{4F2ECF20-4C49-5249-A0EF-5FAE6D3E84AE}"/>
    <dgm:cxn modelId="{37AFD6A0-1723-B741-9408-2E329BC5DDB1}" type="presOf" srcId="{4B26847B-222F-E04F-B93F-7958496DA65C}" destId="{91D7ADA8-1475-9349-913E-9C2D53C1D7C9}" srcOrd="0" destOrd="0" presId="urn:microsoft.com/office/officeart/2005/8/layout/orgChart1"/>
    <dgm:cxn modelId="{5CA26533-50D2-314E-89C7-D231D93DF204}" type="presOf" srcId="{2D781344-65A3-CC42-AE48-89E6ECA195E3}" destId="{18EACF5C-66CA-3E4D-8C5C-FF5941FDB285}" srcOrd="0" destOrd="0" presId="urn:microsoft.com/office/officeart/2005/8/layout/orgChart1"/>
    <dgm:cxn modelId="{841D320F-EB86-834B-9F30-26FCE9C7D3BC}" type="presOf" srcId="{50B35D2E-59F3-7346-A146-7B84569A5183}" destId="{36770380-7547-ED48-AB39-E00707E5AE49}" srcOrd="1" destOrd="0" presId="urn:microsoft.com/office/officeart/2005/8/layout/orgChart1"/>
    <dgm:cxn modelId="{D2126E18-B55D-E34A-BC1B-D4818C6C22A8}" type="presOf" srcId="{F5F28F68-69DA-C347-938A-3CCF605B29AB}" destId="{6AB3DB73-5383-E944-8E93-5490DBAC07ED}" srcOrd="0" destOrd="0" presId="urn:microsoft.com/office/officeart/2005/8/layout/orgChart1"/>
    <dgm:cxn modelId="{741F19AB-2CC4-DB4C-AA19-DA6EC62E95CF}" type="presOf" srcId="{AF3357FD-18B0-1644-966C-BCE3778B58DD}" destId="{30607E5D-7EC8-8446-AD48-AEEC633315C8}" srcOrd="0" destOrd="0" presId="urn:microsoft.com/office/officeart/2005/8/layout/orgChart1"/>
    <dgm:cxn modelId="{468376E6-F32C-784C-AF1C-F32F9EEE22F0}" srcId="{67FD2AD4-7083-B34B-8AB9-E13081EF86F9}" destId="{480C2FAB-0A28-DC43-92DE-A584FB0DAE31}" srcOrd="0" destOrd="0" parTransId="{D5307D3E-A636-324D-8C3A-9829230BB487}" sibTransId="{A7E8F226-EDDB-004D-8FA7-624FBA8EE44D}"/>
    <dgm:cxn modelId="{8C096D0C-716D-D741-B130-B84B1B609CE5}" type="presOf" srcId="{BEEC9641-8114-8F4D-8D80-33DB53450849}" destId="{EBF62F60-4DCC-6C46-AE65-EDFFE870F1F4}" srcOrd="0" destOrd="0" presId="urn:microsoft.com/office/officeart/2005/8/layout/orgChart1"/>
    <dgm:cxn modelId="{8ECC03A2-A25D-804A-AE19-650D9BA67C4C}" type="presOf" srcId="{6ED0CB55-86AA-574C-ACD3-3B855323E998}" destId="{2C0E0A56-4821-5340-9545-5653DBEF3E82}" srcOrd="0" destOrd="0" presId="urn:microsoft.com/office/officeart/2005/8/layout/orgChart1"/>
    <dgm:cxn modelId="{6866A08B-E194-C546-8455-3C877D84CA67}" type="presOf" srcId="{25517EF2-3665-EB4B-9D7F-2C037C685C4E}" destId="{06637420-A86F-4644-990A-75D86B7E454C}" srcOrd="0" destOrd="0" presId="urn:microsoft.com/office/officeart/2005/8/layout/orgChart1"/>
    <dgm:cxn modelId="{6F47062D-6E63-1C4F-8B35-A2743E2FDBE3}" srcId="{C70D9AAD-288E-0B4A-A4D2-9169EEB4C5EF}" destId="{338A4ADE-7A0B-DA46-A749-6378547614AE}" srcOrd="2" destOrd="0" parTransId="{7085B25D-4135-BC43-B854-9EAACE03C079}" sibTransId="{DAB67360-C5DA-964D-A265-B384EDA879CD}"/>
    <dgm:cxn modelId="{D7A3F940-0E04-9746-8BA2-2DFD4F47F9C6}" type="presOf" srcId="{7085B25D-4135-BC43-B854-9EAACE03C079}" destId="{2DC6FEB6-D342-A148-B4E4-3574392637D2}" srcOrd="0" destOrd="0" presId="urn:microsoft.com/office/officeart/2005/8/layout/orgChart1"/>
    <dgm:cxn modelId="{AEE38EB9-50F1-574E-A09F-85E152B6F31F}" type="presOf" srcId="{1A5ABF02-3DC0-3F46-89A6-D4A83DB904D1}" destId="{7AAAE15D-9C55-1D43-B8B7-B04F0D48EABD}" srcOrd="0" destOrd="0" presId="urn:microsoft.com/office/officeart/2005/8/layout/orgChart1"/>
    <dgm:cxn modelId="{A5B3E3BA-DFCF-7A49-8F0B-B3EB9886DB4B}" type="presOf" srcId="{14A9B10A-492B-F046-AA45-A18CECB57509}" destId="{6D27B739-9A5A-FE45-BC1E-B91110B18E69}" srcOrd="1" destOrd="0" presId="urn:microsoft.com/office/officeart/2005/8/layout/orgChart1"/>
    <dgm:cxn modelId="{8F0C7A21-E132-8041-999D-8FFA929BBA84}" type="presOf" srcId="{7D0C8FC0-2822-5146-86DC-E862D57D28F7}" destId="{4C9BEE53-E580-D245-BCCD-590C85D76065}" srcOrd="0" destOrd="0" presId="urn:microsoft.com/office/officeart/2005/8/layout/orgChart1"/>
    <dgm:cxn modelId="{6B73F4AE-7A7E-BA4C-9684-905D504499CA}" type="presOf" srcId="{D5307D3E-A636-324D-8C3A-9829230BB487}" destId="{44F6E45F-C07E-304C-AB67-8E8552A42778}" srcOrd="0" destOrd="0" presId="urn:microsoft.com/office/officeart/2005/8/layout/orgChart1"/>
    <dgm:cxn modelId="{1C1FE5F7-22F5-6844-9A06-C6042B5AA481}" type="presOf" srcId="{480C2FAB-0A28-DC43-92DE-A584FB0DAE31}" destId="{51242648-056D-864F-A823-CF2B10E36DC5}" srcOrd="1" destOrd="0" presId="urn:microsoft.com/office/officeart/2005/8/layout/orgChart1"/>
    <dgm:cxn modelId="{0278C06A-4F24-4941-9897-3E74014F7D5A}" type="presOf" srcId="{6308DAA9-F7A4-2D4C-A7FF-EBCD8392D5BE}" destId="{72D53164-9DF1-584A-A8A9-A81741EC7864}" srcOrd="0" destOrd="0" presId="urn:microsoft.com/office/officeart/2005/8/layout/orgChart1"/>
    <dgm:cxn modelId="{B4D8407F-2459-A044-B50F-505DEEF8B3C6}" type="presOf" srcId="{A53C0CFE-184A-1146-8FA6-FFD39694D4B0}" destId="{210923D2-AC03-0946-B698-462DDD0B6542}" srcOrd="0" destOrd="0" presId="urn:microsoft.com/office/officeart/2005/8/layout/orgChart1"/>
    <dgm:cxn modelId="{3B779D0B-1A39-F245-89A9-52C17388ABAB}" type="presOf" srcId="{7D0052A5-00E7-E545-B888-401A40246FF3}" destId="{CDA8158C-1C6B-024B-9E64-1510DD2C7A55}" srcOrd="0" destOrd="0" presId="urn:microsoft.com/office/officeart/2005/8/layout/orgChart1"/>
    <dgm:cxn modelId="{9B963BAC-7388-A045-A44E-1545D3BA0F00}" type="presOf" srcId="{C3ACB4D6-7889-774B-A5F7-FFA378C074CF}" destId="{A9018DA5-07A6-1047-8906-D5CEBD268137}" srcOrd="1" destOrd="0" presId="urn:microsoft.com/office/officeart/2005/8/layout/orgChart1"/>
    <dgm:cxn modelId="{B4DE970C-DE21-8641-9968-56CF06D431C3}" type="presOf" srcId="{11B5AD18-48FD-6A4B-A82C-B8D0882BDFD5}" destId="{7C50BECD-9391-C544-9079-7DCA06B1B106}" srcOrd="0" destOrd="0" presId="urn:microsoft.com/office/officeart/2005/8/layout/orgChart1"/>
    <dgm:cxn modelId="{A4E533E0-FBA3-5842-8063-634DDFCB3955}" type="presOf" srcId="{411D2A1A-9B4A-674A-B93D-2C923CBCDFDB}" destId="{6440B106-7C72-9547-AE5A-A590A6A7292B}" srcOrd="0" destOrd="0" presId="urn:microsoft.com/office/officeart/2005/8/layout/orgChart1"/>
    <dgm:cxn modelId="{8AC46CB5-F013-4A44-95CF-D2727866483A}" type="presParOf" srcId="{30607E5D-7EC8-8446-AD48-AEEC633315C8}" destId="{01768E30-7C00-9D46-B106-9803EF77DB72}" srcOrd="0" destOrd="0" presId="urn:microsoft.com/office/officeart/2005/8/layout/orgChart1"/>
    <dgm:cxn modelId="{14DCDC93-8836-C44C-BA1F-0CBB5712F787}" type="presParOf" srcId="{01768E30-7C00-9D46-B106-9803EF77DB72}" destId="{37E44035-6D06-FE4D-927A-CD14E98DC4F7}" srcOrd="0" destOrd="0" presId="urn:microsoft.com/office/officeart/2005/8/layout/orgChart1"/>
    <dgm:cxn modelId="{5B910CEC-7542-3641-9027-7F7AB54063A7}" type="presParOf" srcId="{37E44035-6D06-FE4D-927A-CD14E98DC4F7}" destId="{06637420-A86F-4644-990A-75D86B7E454C}" srcOrd="0" destOrd="0" presId="urn:microsoft.com/office/officeart/2005/8/layout/orgChart1"/>
    <dgm:cxn modelId="{0D7B9DA4-2528-404D-8904-7837FA450418}" type="presParOf" srcId="{37E44035-6D06-FE4D-927A-CD14E98DC4F7}" destId="{466535D8-AEE6-1D47-974F-880041EEEAA5}" srcOrd="1" destOrd="0" presId="urn:microsoft.com/office/officeart/2005/8/layout/orgChart1"/>
    <dgm:cxn modelId="{56196A86-2B98-0B41-9889-C7954FC0676B}" type="presParOf" srcId="{01768E30-7C00-9D46-B106-9803EF77DB72}" destId="{C176592F-E087-B04D-9588-EF6FC2F92869}" srcOrd="1" destOrd="0" presId="urn:microsoft.com/office/officeart/2005/8/layout/orgChart1"/>
    <dgm:cxn modelId="{A4F0791F-A211-624D-83C9-BFDB68165A31}" type="presParOf" srcId="{C176592F-E087-B04D-9588-EF6FC2F92869}" destId="{0F5D9B2B-0CE6-4D47-A7B6-80BAEBDC59FC}" srcOrd="0" destOrd="0" presId="urn:microsoft.com/office/officeart/2005/8/layout/orgChart1"/>
    <dgm:cxn modelId="{3EE7BFD4-D9BE-3349-9C81-07AAA16E9DE9}" type="presParOf" srcId="{C176592F-E087-B04D-9588-EF6FC2F92869}" destId="{0F65DF5F-EBEB-B343-9794-35C42F4DC89D}" srcOrd="1" destOrd="0" presId="urn:microsoft.com/office/officeart/2005/8/layout/orgChart1"/>
    <dgm:cxn modelId="{048FBBB4-EBB3-D149-BB8B-C0FCB87F301B}" type="presParOf" srcId="{0F65DF5F-EBEB-B343-9794-35C42F4DC89D}" destId="{D29FBFF0-EB79-0F4F-8C4A-4AF2BBB0A047}" srcOrd="0" destOrd="0" presId="urn:microsoft.com/office/officeart/2005/8/layout/orgChart1"/>
    <dgm:cxn modelId="{EDCD70B0-8874-B246-8DD8-86A9A08C4179}" type="presParOf" srcId="{D29FBFF0-EB79-0F4F-8C4A-4AF2BBB0A047}" destId="{91D7ADA8-1475-9349-913E-9C2D53C1D7C9}" srcOrd="0" destOrd="0" presId="urn:microsoft.com/office/officeart/2005/8/layout/orgChart1"/>
    <dgm:cxn modelId="{85B23854-CF9B-5E4D-967D-13A519196CD3}" type="presParOf" srcId="{D29FBFF0-EB79-0F4F-8C4A-4AF2BBB0A047}" destId="{A7DBADC9-C072-5C48-A3E3-552A2F42BAEE}" srcOrd="1" destOrd="0" presId="urn:microsoft.com/office/officeart/2005/8/layout/orgChart1"/>
    <dgm:cxn modelId="{97DCD6D6-1633-144D-B20A-275D27F1AB89}" type="presParOf" srcId="{0F65DF5F-EBEB-B343-9794-35C42F4DC89D}" destId="{69158542-B581-0247-BAE6-60E62584FEB9}" srcOrd="1" destOrd="0" presId="urn:microsoft.com/office/officeart/2005/8/layout/orgChart1"/>
    <dgm:cxn modelId="{874434B8-13E9-F945-85BA-6A8B9F99E800}" type="presParOf" srcId="{69158542-B581-0247-BAE6-60E62584FEB9}" destId="{44E963F3-2784-9E43-9E90-000EB562AE2A}" srcOrd="0" destOrd="0" presId="urn:microsoft.com/office/officeart/2005/8/layout/orgChart1"/>
    <dgm:cxn modelId="{291038B3-6427-7C44-AD4F-E13446031646}" type="presParOf" srcId="{69158542-B581-0247-BAE6-60E62584FEB9}" destId="{53955494-3838-2F45-BEBB-CE94816E60BA}" srcOrd="1" destOrd="0" presId="urn:microsoft.com/office/officeart/2005/8/layout/orgChart1"/>
    <dgm:cxn modelId="{D53EA42D-7B81-0C4C-8179-A97929338539}" type="presParOf" srcId="{53955494-3838-2F45-BEBB-CE94816E60BA}" destId="{282371C0-CB9F-F142-BFE4-23129E24152E}" srcOrd="0" destOrd="0" presId="urn:microsoft.com/office/officeart/2005/8/layout/orgChart1"/>
    <dgm:cxn modelId="{E9BCD463-6B98-624E-A50D-E1650ABA5D79}" type="presParOf" srcId="{282371C0-CB9F-F142-BFE4-23129E24152E}" destId="{2ED78204-93EC-064C-823A-1586CD82394C}" srcOrd="0" destOrd="0" presId="urn:microsoft.com/office/officeart/2005/8/layout/orgChart1"/>
    <dgm:cxn modelId="{702830F3-B15D-EC4B-B8D3-CE01E0134DEA}" type="presParOf" srcId="{282371C0-CB9F-F142-BFE4-23129E24152E}" destId="{36770380-7547-ED48-AB39-E00707E5AE49}" srcOrd="1" destOrd="0" presId="urn:microsoft.com/office/officeart/2005/8/layout/orgChart1"/>
    <dgm:cxn modelId="{6BD7534C-4AB3-BF40-84DE-BC85DF48CF35}" type="presParOf" srcId="{53955494-3838-2F45-BEBB-CE94816E60BA}" destId="{7FD810D4-2EE4-0A43-B7CD-AE490DD9C8B4}" srcOrd="1" destOrd="0" presId="urn:microsoft.com/office/officeart/2005/8/layout/orgChart1"/>
    <dgm:cxn modelId="{A868ABD8-3811-6140-B0DA-D27D62A55A21}" type="presParOf" srcId="{53955494-3838-2F45-BEBB-CE94816E60BA}" destId="{A06DA4CD-7588-714E-AB31-0B7105F724FF}" srcOrd="2" destOrd="0" presId="urn:microsoft.com/office/officeart/2005/8/layout/orgChart1"/>
    <dgm:cxn modelId="{2FC25FB8-58B8-4141-96D8-B04CEAAB9CD9}" type="presParOf" srcId="{69158542-B581-0247-BAE6-60E62584FEB9}" destId="{88E2A4D5-E62D-B048-BDF2-2627D68216CE}" srcOrd="2" destOrd="0" presId="urn:microsoft.com/office/officeart/2005/8/layout/orgChart1"/>
    <dgm:cxn modelId="{E76BA884-E0D2-0B41-AB51-A86C7C5B98B9}" type="presParOf" srcId="{69158542-B581-0247-BAE6-60E62584FEB9}" destId="{C7C9DA51-6B03-C94F-93CB-D44D3137A8B1}" srcOrd="3" destOrd="0" presId="urn:microsoft.com/office/officeart/2005/8/layout/orgChart1"/>
    <dgm:cxn modelId="{A6B9ED25-6208-E648-B77D-724CBC38E31E}" type="presParOf" srcId="{C7C9DA51-6B03-C94F-93CB-D44D3137A8B1}" destId="{CCCCC64E-4161-4D41-9593-1A4F78C7EF17}" srcOrd="0" destOrd="0" presId="urn:microsoft.com/office/officeart/2005/8/layout/orgChart1"/>
    <dgm:cxn modelId="{6C855B23-C77A-C04A-B955-23509EE612AB}" type="presParOf" srcId="{CCCCC64E-4161-4D41-9593-1A4F78C7EF17}" destId="{3B98D480-5A9A-0A4D-8BDC-FE216FA48EE4}" srcOrd="0" destOrd="0" presId="urn:microsoft.com/office/officeart/2005/8/layout/orgChart1"/>
    <dgm:cxn modelId="{DF7BACB9-FAF1-1E47-A529-863A6EA9A526}" type="presParOf" srcId="{CCCCC64E-4161-4D41-9593-1A4F78C7EF17}" destId="{CCA6A030-3016-FB4D-BB2D-797B6CA6511F}" srcOrd="1" destOrd="0" presId="urn:microsoft.com/office/officeart/2005/8/layout/orgChart1"/>
    <dgm:cxn modelId="{CB8C22BA-318D-BA4B-99E1-322F37770B26}" type="presParOf" srcId="{C7C9DA51-6B03-C94F-93CB-D44D3137A8B1}" destId="{893D50E5-BFD6-374D-B623-8C8F06D30FB9}" srcOrd="1" destOrd="0" presId="urn:microsoft.com/office/officeart/2005/8/layout/orgChart1"/>
    <dgm:cxn modelId="{35B07D7B-5184-E34E-B702-3A468B1A7FD7}" type="presParOf" srcId="{C7C9DA51-6B03-C94F-93CB-D44D3137A8B1}" destId="{9A169D03-FEAA-964F-82BE-17DF2B44F83D}" srcOrd="2" destOrd="0" presId="urn:microsoft.com/office/officeart/2005/8/layout/orgChart1"/>
    <dgm:cxn modelId="{BC80163A-05FA-7B49-AF93-2613812F8C15}" type="presParOf" srcId="{69158542-B581-0247-BAE6-60E62584FEB9}" destId="{CDA8158C-1C6B-024B-9E64-1510DD2C7A55}" srcOrd="4" destOrd="0" presId="urn:microsoft.com/office/officeart/2005/8/layout/orgChart1"/>
    <dgm:cxn modelId="{4A3F63EF-F2E0-0845-8572-4FF4944131EC}" type="presParOf" srcId="{69158542-B581-0247-BAE6-60E62584FEB9}" destId="{86D1A16A-2EDC-7B49-BDD5-ADA121CED2D3}" srcOrd="5" destOrd="0" presId="urn:microsoft.com/office/officeart/2005/8/layout/orgChart1"/>
    <dgm:cxn modelId="{F9DF85A8-62C4-F344-97B0-9857832B411C}" type="presParOf" srcId="{86D1A16A-2EDC-7B49-BDD5-ADA121CED2D3}" destId="{64FB60A2-29ED-0C42-82BE-AEF32C4DEBD0}" srcOrd="0" destOrd="0" presId="urn:microsoft.com/office/officeart/2005/8/layout/orgChart1"/>
    <dgm:cxn modelId="{5BA74FEB-F270-A34C-ACD1-D3275CD35D51}" type="presParOf" srcId="{64FB60A2-29ED-0C42-82BE-AEF32C4DEBD0}" destId="{2C0E0A56-4821-5340-9545-5653DBEF3E82}" srcOrd="0" destOrd="0" presId="urn:microsoft.com/office/officeart/2005/8/layout/orgChart1"/>
    <dgm:cxn modelId="{CAB9E899-EF84-7F41-8B6D-420F2E1347EB}" type="presParOf" srcId="{64FB60A2-29ED-0C42-82BE-AEF32C4DEBD0}" destId="{10D8D681-CBDA-D246-9198-063E1F1463D5}" srcOrd="1" destOrd="0" presId="urn:microsoft.com/office/officeart/2005/8/layout/orgChart1"/>
    <dgm:cxn modelId="{0C493A7F-F60A-D34C-8860-A399EF6D6AE7}" type="presParOf" srcId="{86D1A16A-2EDC-7B49-BDD5-ADA121CED2D3}" destId="{CC9BABF7-5A8C-E043-A639-9D9F60E49EB2}" srcOrd="1" destOrd="0" presId="urn:microsoft.com/office/officeart/2005/8/layout/orgChart1"/>
    <dgm:cxn modelId="{C74F1B97-0CC0-6344-B127-F6AEC83F92F3}" type="presParOf" srcId="{86D1A16A-2EDC-7B49-BDD5-ADA121CED2D3}" destId="{CE13E513-7EF6-3C4A-BF03-7E569F8E0EFD}" srcOrd="2" destOrd="0" presId="urn:microsoft.com/office/officeart/2005/8/layout/orgChart1"/>
    <dgm:cxn modelId="{BCB3BB17-8AE7-104E-B75F-3F040A3537E4}" type="presParOf" srcId="{0F65DF5F-EBEB-B343-9794-35C42F4DC89D}" destId="{99494E59-30AF-C84C-8FAD-74D70922C5BB}" srcOrd="2" destOrd="0" presId="urn:microsoft.com/office/officeart/2005/8/layout/orgChart1"/>
    <dgm:cxn modelId="{38C77469-2696-EB4A-85CB-12DC65725FAE}" type="presParOf" srcId="{C176592F-E087-B04D-9588-EF6FC2F92869}" destId="{6AB3DB73-5383-E944-8E93-5490DBAC07ED}" srcOrd="2" destOrd="0" presId="urn:microsoft.com/office/officeart/2005/8/layout/orgChart1"/>
    <dgm:cxn modelId="{9F1AB465-1A16-3D4A-8A0E-D221162B394B}" type="presParOf" srcId="{C176592F-E087-B04D-9588-EF6FC2F92869}" destId="{063E0CF9-7144-D34B-96D0-290257049F24}" srcOrd="3" destOrd="0" presId="urn:microsoft.com/office/officeart/2005/8/layout/orgChart1"/>
    <dgm:cxn modelId="{D461ADD2-7A9D-A146-BE72-E3C283394EB4}" type="presParOf" srcId="{063E0CF9-7144-D34B-96D0-290257049F24}" destId="{9D7957A4-BCF4-A64B-9FA8-89318DD7C26C}" srcOrd="0" destOrd="0" presId="urn:microsoft.com/office/officeart/2005/8/layout/orgChart1"/>
    <dgm:cxn modelId="{9165D561-8A05-584E-BB14-B829CA84462C}" type="presParOf" srcId="{9D7957A4-BCF4-A64B-9FA8-89318DD7C26C}" destId="{6A1B3FF2-4302-AB42-9144-D0C7AF33189D}" srcOrd="0" destOrd="0" presId="urn:microsoft.com/office/officeart/2005/8/layout/orgChart1"/>
    <dgm:cxn modelId="{ABC8FBA4-5858-0646-8A9E-AA1B1DADDA3C}" type="presParOf" srcId="{9D7957A4-BCF4-A64B-9FA8-89318DD7C26C}" destId="{A8476105-19F1-B646-B233-7DFE7667D28F}" srcOrd="1" destOrd="0" presId="urn:microsoft.com/office/officeart/2005/8/layout/orgChart1"/>
    <dgm:cxn modelId="{1E16449F-2F82-944B-A33F-42D2B5631BF1}" type="presParOf" srcId="{063E0CF9-7144-D34B-96D0-290257049F24}" destId="{DB85212C-909C-BE4F-9C57-AA092C9F8F68}" srcOrd="1" destOrd="0" presId="urn:microsoft.com/office/officeart/2005/8/layout/orgChart1"/>
    <dgm:cxn modelId="{F76FA22E-ADA3-E449-BB16-8175B838C83B}" type="presParOf" srcId="{DB85212C-909C-BE4F-9C57-AA092C9F8F68}" destId="{FCB70BC6-8BC2-7740-8498-E09039141FAE}" srcOrd="0" destOrd="0" presId="urn:microsoft.com/office/officeart/2005/8/layout/orgChart1"/>
    <dgm:cxn modelId="{94806643-4A48-6541-B8B0-2C6A0FDAC8B0}" type="presParOf" srcId="{DB85212C-909C-BE4F-9C57-AA092C9F8F68}" destId="{8A2CB56E-93D1-874C-81A9-9FAC0DA015D2}" srcOrd="1" destOrd="0" presId="urn:microsoft.com/office/officeart/2005/8/layout/orgChart1"/>
    <dgm:cxn modelId="{C51EC240-FA42-7645-B987-3F635DFCA31C}" type="presParOf" srcId="{8A2CB56E-93D1-874C-81A9-9FAC0DA015D2}" destId="{56803695-D01D-974E-959F-E4FC5996044F}" srcOrd="0" destOrd="0" presId="urn:microsoft.com/office/officeart/2005/8/layout/orgChart1"/>
    <dgm:cxn modelId="{9F55E3F5-013C-B946-A337-E6DC064BA9B4}" type="presParOf" srcId="{56803695-D01D-974E-959F-E4FC5996044F}" destId="{22959F47-69F7-D445-9334-5C7C176A2653}" srcOrd="0" destOrd="0" presId="urn:microsoft.com/office/officeart/2005/8/layout/orgChart1"/>
    <dgm:cxn modelId="{B5B8460D-7E42-CE44-8269-B57C82B742A1}" type="presParOf" srcId="{56803695-D01D-974E-959F-E4FC5996044F}" destId="{8C060B5F-BBBF-2049-9E6B-A69B2A074D8E}" srcOrd="1" destOrd="0" presId="urn:microsoft.com/office/officeart/2005/8/layout/orgChart1"/>
    <dgm:cxn modelId="{4168FEDD-9453-354A-9DED-AE2F278DD1F3}" type="presParOf" srcId="{8A2CB56E-93D1-874C-81A9-9FAC0DA015D2}" destId="{175F2BE5-9841-E24D-8258-D4DAB9588C96}" srcOrd="1" destOrd="0" presId="urn:microsoft.com/office/officeart/2005/8/layout/orgChart1"/>
    <dgm:cxn modelId="{69C41BDE-1DD2-AB44-B791-CDD43DE5DBD9}" type="presParOf" srcId="{8A2CB56E-93D1-874C-81A9-9FAC0DA015D2}" destId="{6C96FA0A-0A57-4A45-A656-B89BDED585EB}" srcOrd="2" destOrd="0" presId="urn:microsoft.com/office/officeart/2005/8/layout/orgChart1"/>
    <dgm:cxn modelId="{F16FA8A8-B5E9-E048-9C49-6D053046C0D5}" type="presParOf" srcId="{DB85212C-909C-BE4F-9C57-AA092C9F8F68}" destId="{6CD5F04D-881E-FF45-840F-9065F725359E}" srcOrd="2" destOrd="0" presId="urn:microsoft.com/office/officeart/2005/8/layout/orgChart1"/>
    <dgm:cxn modelId="{31E7858C-563E-D340-A7C0-75A8AD6CDB99}" type="presParOf" srcId="{DB85212C-909C-BE4F-9C57-AA092C9F8F68}" destId="{EEB1F1F6-A420-3B4D-83C3-44A0874B3872}" srcOrd="3" destOrd="0" presId="urn:microsoft.com/office/officeart/2005/8/layout/orgChart1"/>
    <dgm:cxn modelId="{12C3A7C8-E3CA-9A42-8118-EE07853580A4}" type="presParOf" srcId="{EEB1F1F6-A420-3B4D-83C3-44A0874B3872}" destId="{866BA078-C3D3-2F4C-A7CC-2903AAEBC56E}" srcOrd="0" destOrd="0" presId="urn:microsoft.com/office/officeart/2005/8/layout/orgChart1"/>
    <dgm:cxn modelId="{B92576AA-206C-3B4D-9ABD-16945E6E447A}" type="presParOf" srcId="{866BA078-C3D3-2F4C-A7CC-2903AAEBC56E}" destId="{35471471-CB84-0746-BDD4-1655B6C5471A}" srcOrd="0" destOrd="0" presId="urn:microsoft.com/office/officeart/2005/8/layout/orgChart1"/>
    <dgm:cxn modelId="{CE4371B0-76BC-7745-8C1F-9E316D099663}" type="presParOf" srcId="{866BA078-C3D3-2F4C-A7CC-2903AAEBC56E}" destId="{BF48F31E-442A-8542-BEC6-8A1283ECC0DC}" srcOrd="1" destOrd="0" presId="urn:microsoft.com/office/officeart/2005/8/layout/orgChart1"/>
    <dgm:cxn modelId="{891759EA-B2B1-9245-BC1E-D1A314F0ED92}" type="presParOf" srcId="{EEB1F1F6-A420-3B4D-83C3-44A0874B3872}" destId="{2F554D91-DC1D-3A4B-BD01-7DD0FBADA47A}" srcOrd="1" destOrd="0" presId="urn:microsoft.com/office/officeart/2005/8/layout/orgChart1"/>
    <dgm:cxn modelId="{FC13EFF1-6EF9-5E46-A338-6FA80F7255A4}" type="presParOf" srcId="{EEB1F1F6-A420-3B4D-83C3-44A0874B3872}" destId="{5C57C97C-2160-274D-A8EF-85D36B4657F0}" srcOrd="2" destOrd="0" presId="urn:microsoft.com/office/officeart/2005/8/layout/orgChart1"/>
    <dgm:cxn modelId="{783F741F-EA24-5B4D-95A9-BF607AE7A16E}" type="presParOf" srcId="{DB85212C-909C-BE4F-9C57-AA092C9F8F68}" destId="{2DC6FEB6-D342-A148-B4E4-3574392637D2}" srcOrd="4" destOrd="0" presId="urn:microsoft.com/office/officeart/2005/8/layout/orgChart1"/>
    <dgm:cxn modelId="{7377BC4C-2608-AA40-9937-B063E40C414F}" type="presParOf" srcId="{DB85212C-909C-BE4F-9C57-AA092C9F8F68}" destId="{E7C14A77-D7F1-1E41-9F22-78FC6F14D5DD}" srcOrd="5" destOrd="0" presId="urn:microsoft.com/office/officeart/2005/8/layout/orgChart1"/>
    <dgm:cxn modelId="{446BEE0A-0983-4144-ABA0-1415DFDE990B}" type="presParOf" srcId="{E7C14A77-D7F1-1E41-9F22-78FC6F14D5DD}" destId="{345D217C-C154-0B4F-9496-F18800B28FFF}" srcOrd="0" destOrd="0" presId="urn:microsoft.com/office/officeart/2005/8/layout/orgChart1"/>
    <dgm:cxn modelId="{56CE0902-4941-AE44-942C-C8CD80AAB89E}" type="presParOf" srcId="{345D217C-C154-0B4F-9496-F18800B28FFF}" destId="{9276651D-6194-EA49-8E09-02C1BFFFA9D5}" srcOrd="0" destOrd="0" presId="urn:microsoft.com/office/officeart/2005/8/layout/orgChart1"/>
    <dgm:cxn modelId="{29F05915-76D6-224F-8646-E3B6E09CF34D}" type="presParOf" srcId="{345D217C-C154-0B4F-9496-F18800B28FFF}" destId="{CD5ED238-8A46-9548-AD80-16CB05272A14}" srcOrd="1" destOrd="0" presId="urn:microsoft.com/office/officeart/2005/8/layout/orgChart1"/>
    <dgm:cxn modelId="{5A13F693-09EC-FA42-8A51-35B3B75F42CC}" type="presParOf" srcId="{E7C14A77-D7F1-1E41-9F22-78FC6F14D5DD}" destId="{BDC06036-AFEF-8F4C-A1E3-0138032EDE75}" srcOrd="1" destOrd="0" presId="urn:microsoft.com/office/officeart/2005/8/layout/orgChart1"/>
    <dgm:cxn modelId="{6AA31886-CD18-9247-9BF1-2E34F204FF62}" type="presParOf" srcId="{E7C14A77-D7F1-1E41-9F22-78FC6F14D5DD}" destId="{F44A321D-F93F-1847-9AAA-56093CB8396B}" srcOrd="2" destOrd="0" presId="urn:microsoft.com/office/officeart/2005/8/layout/orgChart1"/>
    <dgm:cxn modelId="{A92F3304-2BBC-9547-BD03-0750431A6A8F}" type="presParOf" srcId="{063E0CF9-7144-D34B-96D0-290257049F24}" destId="{E7AD0A5D-E521-4D48-A5EC-9A4A203AF9D4}" srcOrd="2" destOrd="0" presId="urn:microsoft.com/office/officeart/2005/8/layout/orgChart1"/>
    <dgm:cxn modelId="{D3E4CDCE-541F-3148-8CF2-D861CE29CE7E}" type="presParOf" srcId="{C176592F-E087-B04D-9588-EF6FC2F92869}" destId="{910491EA-604E-6842-9866-DF2E9CD33930}" srcOrd="4" destOrd="0" presId="urn:microsoft.com/office/officeart/2005/8/layout/orgChart1"/>
    <dgm:cxn modelId="{759E00B7-1477-CC47-BA6F-B755F13B1EB2}" type="presParOf" srcId="{C176592F-E087-B04D-9588-EF6FC2F92869}" destId="{4F6E76D3-53FC-9B40-84F9-F7C25AED53E4}" srcOrd="5" destOrd="0" presId="urn:microsoft.com/office/officeart/2005/8/layout/orgChart1"/>
    <dgm:cxn modelId="{3E21CD2C-40BE-C640-82E2-5378BD5620B8}" type="presParOf" srcId="{4F6E76D3-53FC-9B40-84F9-F7C25AED53E4}" destId="{71838188-1DD8-7345-B5E8-F0FD31F9988C}" srcOrd="0" destOrd="0" presId="urn:microsoft.com/office/officeart/2005/8/layout/orgChart1"/>
    <dgm:cxn modelId="{81F6BFC9-3EEB-6E4A-B3F5-1CCCC8E131D1}" type="presParOf" srcId="{71838188-1DD8-7345-B5E8-F0FD31F9988C}" destId="{C98D4C05-6DFD-F848-8831-CA53C562EFA9}" srcOrd="0" destOrd="0" presId="urn:microsoft.com/office/officeart/2005/8/layout/orgChart1"/>
    <dgm:cxn modelId="{41387C0F-F214-2948-B43A-3BA1C11F2B92}" type="presParOf" srcId="{71838188-1DD8-7345-B5E8-F0FD31F9988C}" destId="{8249A152-56BE-E046-8A45-0C56C7C1D191}" srcOrd="1" destOrd="0" presId="urn:microsoft.com/office/officeart/2005/8/layout/orgChart1"/>
    <dgm:cxn modelId="{4FECAB5A-007A-0540-87FB-88688A1DB0E6}" type="presParOf" srcId="{4F6E76D3-53FC-9B40-84F9-F7C25AED53E4}" destId="{936D50A9-CCB4-4945-945B-85E46E6A9010}" srcOrd="1" destOrd="0" presId="urn:microsoft.com/office/officeart/2005/8/layout/orgChart1"/>
    <dgm:cxn modelId="{138D2C3D-A061-BA4B-8158-0074BF4CC72E}" type="presParOf" srcId="{936D50A9-CCB4-4945-945B-85E46E6A9010}" destId="{D62CB30F-6901-594F-8775-B46F34227BC9}" srcOrd="0" destOrd="0" presId="urn:microsoft.com/office/officeart/2005/8/layout/orgChart1"/>
    <dgm:cxn modelId="{6090E4CD-85B8-1E4A-A27D-D7C28F82D57C}" type="presParOf" srcId="{936D50A9-CCB4-4945-945B-85E46E6A9010}" destId="{2A1E62F8-D51C-B44A-BD70-E6C65A68DCCB}" srcOrd="1" destOrd="0" presId="urn:microsoft.com/office/officeart/2005/8/layout/orgChart1"/>
    <dgm:cxn modelId="{0556FCAB-E196-0B4E-B267-0126BA46E6FC}" type="presParOf" srcId="{2A1E62F8-D51C-B44A-BD70-E6C65A68DCCB}" destId="{F9703759-1D98-084A-B066-79D5FA0B0817}" srcOrd="0" destOrd="0" presId="urn:microsoft.com/office/officeart/2005/8/layout/orgChart1"/>
    <dgm:cxn modelId="{B3FA6BCE-BEA6-4E40-BE73-A2A56335A085}" type="presParOf" srcId="{F9703759-1D98-084A-B066-79D5FA0B0817}" destId="{7AAAE15D-9C55-1D43-B8B7-B04F0D48EABD}" srcOrd="0" destOrd="0" presId="urn:microsoft.com/office/officeart/2005/8/layout/orgChart1"/>
    <dgm:cxn modelId="{30154A2F-A689-5A43-8BA5-84DA2A76D9B4}" type="presParOf" srcId="{F9703759-1D98-084A-B066-79D5FA0B0817}" destId="{C8CB1346-EB34-094E-8B3A-28042614FB03}" srcOrd="1" destOrd="0" presId="urn:microsoft.com/office/officeart/2005/8/layout/orgChart1"/>
    <dgm:cxn modelId="{6F38AB2F-F05F-7A40-8E15-309B8D66C908}" type="presParOf" srcId="{2A1E62F8-D51C-B44A-BD70-E6C65A68DCCB}" destId="{C07159A7-2612-CB43-B1EE-FC2609E7E9AD}" srcOrd="1" destOrd="0" presId="urn:microsoft.com/office/officeart/2005/8/layout/orgChart1"/>
    <dgm:cxn modelId="{9D1E6712-9F7F-8641-A1F9-AFDCB9EB916B}" type="presParOf" srcId="{2A1E62F8-D51C-B44A-BD70-E6C65A68DCCB}" destId="{B9C12C8A-E3B4-7940-B9D7-DB49D619BCB5}" srcOrd="2" destOrd="0" presId="urn:microsoft.com/office/officeart/2005/8/layout/orgChart1"/>
    <dgm:cxn modelId="{939C19A5-174E-784D-BA2F-641B948B9887}" type="presParOf" srcId="{936D50A9-CCB4-4945-945B-85E46E6A9010}" destId="{129F0079-A483-7E48-A321-97C36DBA0475}" srcOrd="2" destOrd="0" presId="urn:microsoft.com/office/officeart/2005/8/layout/orgChart1"/>
    <dgm:cxn modelId="{66398574-1654-5B4E-B9E8-CFD1AE6A6302}" type="presParOf" srcId="{936D50A9-CCB4-4945-945B-85E46E6A9010}" destId="{505AFEB6-44FD-0948-86B1-1EBBFB7AD6E8}" srcOrd="3" destOrd="0" presId="urn:microsoft.com/office/officeart/2005/8/layout/orgChart1"/>
    <dgm:cxn modelId="{FC19DD0B-AF89-E34A-904F-2BB2688B43AC}" type="presParOf" srcId="{505AFEB6-44FD-0948-86B1-1EBBFB7AD6E8}" destId="{898B3C27-79E5-B94F-AB28-34998FE8B917}" srcOrd="0" destOrd="0" presId="urn:microsoft.com/office/officeart/2005/8/layout/orgChart1"/>
    <dgm:cxn modelId="{B4D3D474-4B71-F241-91B2-9F280DAC1AC5}" type="presParOf" srcId="{898B3C27-79E5-B94F-AB28-34998FE8B917}" destId="{7C50BECD-9391-C544-9079-7DCA06B1B106}" srcOrd="0" destOrd="0" presId="urn:microsoft.com/office/officeart/2005/8/layout/orgChart1"/>
    <dgm:cxn modelId="{F770C75B-A78F-3244-B994-49199226B9AC}" type="presParOf" srcId="{898B3C27-79E5-B94F-AB28-34998FE8B917}" destId="{35D57237-8BFB-E945-A7A7-3C3A20E1DD9C}" srcOrd="1" destOrd="0" presId="urn:microsoft.com/office/officeart/2005/8/layout/orgChart1"/>
    <dgm:cxn modelId="{E0C6CF1E-034E-C541-BFB7-49CD983D176A}" type="presParOf" srcId="{505AFEB6-44FD-0948-86B1-1EBBFB7AD6E8}" destId="{9742A4E0-8FBD-7543-97A8-E98A936FD000}" srcOrd="1" destOrd="0" presId="urn:microsoft.com/office/officeart/2005/8/layout/orgChart1"/>
    <dgm:cxn modelId="{8E003B59-A66B-3048-93BD-DD82BC41F466}" type="presParOf" srcId="{505AFEB6-44FD-0948-86B1-1EBBFB7AD6E8}" destId="{7BE38307-1708-2D4C-8A04-E67A64FA40B2}" srcOrd="2" destOrd="0" presId="urn:microsoft.com/office/officeart/2005/8/layout/orgChart1"/>
    <dgm:cxn modelId="{D2EB20E2-7665-3B40-97AF-C4A5B49C8ED6}" type="presParOf" srcId="{936D50A9-CCB4-4945-945B-85E46E6A9010}" destId="{5030E2EE-B0D1-364F-B6DF-876E246B6AE1}" srcOrd="4" destOrd="0" presId="urn:microsoft.com/office/officeart/2005/8/layout/orgChart1"/>
    <dgm:cxn modelId="{ABE789EC-1894-AC45-A173-FEFC8C850578}" type="presParOf" srcId="{936D50A9-CCB4-4945-945B-85E46E6A9010}" destId="{3BF92A3B-B68B-8F4A-ACDB-61F48235A59F}" srcOrd="5" destOrd="0" presId="urn:microsoft.com/office/officeart/2005/8/layout/orgChart1"/>
    <dgm:cxn modelId="{B98A471F-F886-5049-8484-76B46D5D7B5C}" type="presParOf" srcId="{3BF92A3B-B68B-8F4A-ACDB-61F48235A59F}" destId="{B998F742-4147-FB46-B213-304B069DACB0}" srcOrd="0" destOrd="0" presId="urn:microsoft.com/office/officeart/2005/8/layout/orgChart1"/>
    <dgm:cxn modelId="{F7CEDF57-B72A-C745-8DC9-C45295EC320D}" type="presParOf" srcId="{B998F742-4147-FB46-B213-304B069DACB0}" destId="{C8DB6E88-65AB-3947-BF5E-D30F973C203C}" srcOrd="0" destOrd="0" presId="urn:microsoft.com/office/officeart/2005/8/layout/orgChart1"/>
    <dgm:cxn modelId="{477C8342-A447-5747-AE27-7A75C8DA57B7}" type="presParOf" srcId="{B998F742-4147-FB46-B213-304B069DACB0}" destId="{62108426-B799-194D-AB78-22283909E5A2}" srcOrd="1" destOrd="0" presId="urn:microsoft.com/office/officeart/2005/8/layout/orgChart1"/>
    <dgm:cxn modelId="{66073445-DAF6-7C47-94E2-7471BF9CC77F}" type="presParOf" srcId="{3BF92A3B-B68B-8F4A-ACDB-61F48235A59F}" destId="{60AB16CA-A0FA-E548-A598-8F4F677A192B}" srcOrd="1" destOrd="0" presId="urn:microsoft.com/office/officeart/2005/8/layout/orgChart1"/>
    <dgm:cxn modelId="{940B9E94-5BC5-F344-BE14-61CDDDE049A9}" type="presParOf" srcId="{3BF92A3B-B68B-8F4A-ACDB-61F48235A59F}" destId="{360B2E77-F622-5945-8392-2B887285C669}" srcOrd="2" destOrd="0" presId="urn:microsoft.com/office/officeart/2005/8/layout/orgChart1"/>
    <dgm:cxn modelId="{BC0E46A0-24B1-5F42-9FC7-68634B6135A1}" type="presParOf" srcId="{4F6E76D3-53FC-9B40-84F9-F7C25AED53E4}" destId="{0E88A329-C564-C840-B127-2181CD7549E6}" srcOrd="2" destOrd="0" presId="urn:microsoft.com/office/officeart/2005/8/layout/orgChart1"/>
    <dgm:cxn modelId="{55EE5DF4-633C-2E44-A095-2E433FCCD799}" type="presParOf" srcId="{C176592F-E087-B04D-9588-EF6FC2F92869}" destId="{323D0151-0AF0-7A44-BCE6-C10462839127}" srcOrd="6" destOrd="0" presId="urn:microsoft.com/office/officeart/2005/8/layout/orgChart1"/>
    <dgm:cxn modelId="{E46B3C92-AE99-E546-811C-5158A0F81C7E}" type="presParOf" srcId="{C176592F-E087-B04D-9588-EF6FC2F92869}" destId="{C0502B14-1B52-7042-ACC0-DA1514170E49}" srcOrd="7" destOrd="0" presId="urn:microsoft.com/office/officeart/2005/8/layout/orgChart1"/>
    <dgm:cxn modelId="{4EC56D85-5734-E046-8CD9-CFEE4F34D396}" type="presParOf" srcId="{C0502B14-1B52-7042-ACC0-DA1514170E49}" destId="{124E14D1-547A-F840-A53B-8C32D7C0E093}" srcOrd="0" destOrd="0" presId="urn:microsoft.com/office/officeart/2005/8/layout/orgChart1"/>
    <dgm:cxn modelId="{FE4205F6-08F8-494A-B8CE-09409D7A5599}" type="presParOf" srcId="{124E14D1-547A-F840-A53B-8C32D7C0E093}" destId="{F63DB975-E825-ED40-9ED5-8EF8047133DC}" srcOrd="0" destOrd="0" presId="urn:microsoft.com/office/officeart/2005/8/layout/orgChart1"/>
    <dgm:cxn modelId="{666019FC-A5A3-8A42-8CF7-EA07C1DF5675}" type="presParOf" srcId="{124E14D1-547A-F840-A53B-8C32D7C0E093}" destId="{448BE257-6BD3-154B-8455-7442213A9C1F}" srcOrd="1" destOrd="0" presId="urn:microsoft.com/office/officeart/2005/8/layout/orgChart1"/>
    <dgm:cxn modelId="{7A45D195-34E0-454E-AA54-9AD8E5B1342A}" type="presParOf" srcId="{C0502B14-1B52-7042-ACC0-DA1514170E49}" destId="{068F8C37-46EE-4847-A292-C25509F10E4F}" srcOrd="1" destOrd="0" presId="urn:microsoft.com/office/officeart/2005/8/layout/orgChart1"/>
    <dgm:cxn modelId="{CA59D2D8-41CE-5249-97FE-77C361EB6E54}" type="presParOf" srcId="{068F8C37-46EE-4847-A292-C25509F10E4F}" destId="{7B5B0F12-5DDA-9943-9092-2A10F2FE9601}" srcOrd="0" destOrd="0" presId="urn:microsoft.com/office/officeart/2005/8/layout/orgChart1"/>
    <dgm:cxn modelId="{3B5D5AB8-18E8-3949-81F4-CFB68CAD47E0}" type="presParOf" srcId="{068F8C37-46EE-4847-A292-C25509F10E4F}" destId="{416A776B-95CC-6242-82B8-F3477537D01B}" srcOrd="1" destOrd="0" presId="urn:microsoft.com/office/officeart/2005/8/layout/orgChart1"/>
    <dgm:cxn modelId="{13B5A7FB-1233-6F4C-B473-77E27BF87A57}" type="presParOf" srcId="{416A776B-95CC-6242-82B8-F3477537D01B}" destId="{B3872BE2-32B6-FA4E-AD30-FDDA357E030B}" srcOrd="0" destOrd="0" presId="urn:microsoft.com/office/officeart/2005/8/layout/orgChart1"/>
    <dgm:cxn modelId="{DBA789F3-48A5-9941-863F-0A1D0706AC0F}" type="presParOf" srcId="{B3872BE2-32B6-FA4E-AD30-FDDA357E030B}" destId="{BD45870A-B3FE-4649-A1E8-44ABA898ACEB}" srcOrd="0" destOrd="0" presId="urn:microsoft.com/office/officeart/2005/8/layout/orgChart1"/>
    <dgm:cxn modelId="{312F5FF2-2199-6A4A-B96E-B1C4F202CE4C}" type="presParOf" srcId="{B3872BE2-32B6-FA4E-AD30-FDDA357E030B}" destId="{6D27B739-9A5A-FE45-BC1E-B91110B18E69}" srcOrd="1" destOrd="0" presId="urn:microsoft.com/office/officeart/2005/8/layout/orgChart1"/>
    <dgm:cxn modelId="{58A00D8E-B7D8-1C42-8160-870F6D81A935}" type="presParOf" srcId="{416A776B-95CC-6242-82B8-F3477537D01B}" destId="{E0AA5810-09FE-6F49-9E01-C37893D5B99E}" srcOrd="1" destOrd="0" presId="urn:microsoft.com/office/officeart/2005/8/layout/orgChart1"/>
    <dgm:cxn modelId="{7D01F429-2FF1-DA45-8CA6-33788C6EA4A3}" type="presParOf" srcId="{416A776B-95CC-6242-82B8-F3477537D01B}" destId="{67B38412-62E0-F041-A9A6-EEB827EE7287}" srcOrd="2" destOrd="0" presId="urn:microsoft.com/office/officeart/2005/8/layout/orgChart1"/>
    <dgm:cxn modelId="{D91C5550-2D52-6447-ABA4-91BD333DB309}" type="presParOf" srcId="{068F8C37-46EE-4847-A292-C25509F10E4F}" destId="{4C9BEE53-E580-D245-BCCD-590C85D76065}" srcOrd="2" destOrd="0" presId="urn:microsoft.com/office/officeart/2005/8/layout/orgChart1"/>
    <dgm:cxn modelId="{B37E6800-A19D-6A4A-9786-0E4DA1F3FF52}" type="presParOf" srcId="{068F8C37-46EE-4847-A292-C25509F10E4F}" destId="{084F8B06-8855-B74B-A705-6E163C44E754}" srcOrd="3" destOrd="0" presId="urn:microsoft.com/office/officeart/2005/8/layout/orgChart1"/>
    <dgm:cxn modelId="{26F93396-5BE3-3441-8A1F-3F90C3E93FD3}" type="presParOf" srcId="{084F8B06-8855-B74B-A705-6E163C44E754}" destId="{9EA94B24-EF62-6646-8B44-17764E9A462E}" srcOrd="0" destOrd="0" presId="urn:microsoft.com/office/officeart/2005/8/layout/orgChart1"/>
    <dgm:cxn modelId="{C0780946-2C2A-0344-A1A2-630465DCDCDB}" type="presParOf" srcId="{9EA94B24-EF62-6646-8B44-17764E9A462E}" destId="{667C8B84-66F0-D04D-AF88-0F329C747158}" srcOrd="0" destOrd="0" presId="urn:microsoft.com/office/officeart/2005/8/layout/orgChart1"/>
    <dgm:cxn modelId="{F188ACD1-F018-E747-B3FC-6EC1D97CA6B4}" type="presParOf" srcId="{9EA94B24-EF62-6646-8B44-17764E9A462E}" destId="{C032D471-E31D-BF47-90BC-0B75D3183438}" srcOrd="1" destOrd="0" presId="urn:microsoft.com/office/officeart/2005/8/layout/orgChart1"/>
    <dgm:cxn modelId="{03A8795D-FC71-5940-9B36-F7FECDB8A9CE}" type="presParOf" srcId="{084F8B06-8855-B74B-A705-6E163C44E754}" destId="{50D7A7D7-B247-0241-B930-203B902594B5}" srcOrd="1" destOrd="0" presId="urn:microsoft.com/office/officeart/2005/8/layout/orgChart1"/>
    <dgm:cxn modelId="{B2EA38BE-038F-BB4F-8ADF-CD508E793838}" type="presParOf" srcId="{084F8B06-8855-B74B-A705-6E163C44E754}" destId="{6067EBE2-5843-6D4C-941B-5FB3692E75F9}" srcOrd="2" destOrd="0" presId="urn:microsoft.com/office/officeart/2005/8/layout/orgChart1"/>
    <dgm:cxn modelId="{FDE4051B-509E-164E-B5B5-812B97CFFE10}" type="presParOf" srcId="{068F8C37-46EE-4847-A292-C25509F10E4F}" destId="{EBF62F60-4DCC-6C46-AE65-EDFFE870F1F4}" srcOrd="4" destOrd="0" presId="urn:microsoft.com/office/officeart/2005/8/layout/orgChart1"/>
    <dgm:cxn modelId="{6A130968-8769-634F-9FB1-81C70C0D8F76}" type="presParOf" srcId="{068F8C37-46EE-4847-A292-C25509F10E4F}" destId="{93533B26-364F-014E-A891-6D8442BBCE18}" srcOrd="5" destOrd="0" presId="urn:microsoft.com/office/officeart/2005/8/layout/orgChart1"/>
    <dgm:cxn modelId="{6405237E-6F48-F749-9C89-BF105766E036}" type="presParOf" srcId="{93533B26-364F-014E-A891-6D8442BBCE18}" destId="{DB4AF111-B912-8448-ABAC-05FC566DF87E}" srcOrd="0" destOrd="0" presId="urn:microsoft.com/office/officeart/2005/8/layout/orgChart1"/>
    <dgm:cxn modelId="{D96E1EFF-5C93-E84C-9174-78788602E224}" type="presParOf" srcId="{DB4AF111-B912-8448-ABAC-05FC566DF87E}" destId="{0B86221D-B7E4-B74C-ACB9-8C43A9AE47F7}" srcOrd="0" destOrd="0" presId="urn:microsoft.com/office/officeart/2005/8/layout/orgChart1"/>
    <dgm:cxn modelId="{AD2D4E74-4BA2-C646-B2D4-DD57889BBB91}" type="presParOf" srcId="{DB4AF111-B912-8448-ABAC-05FC566DF87E}" destId="{B9CC71A5-3834-534E-9ECE-601DD70734B2}" srcOrd="1" destOrd="0" presId="urn:microsoft.com/office/officeart/2005/8/layout/orgChart1"/>
    <dgm:cxn modelId="{4E61578A-9FCC-6A4B-8FB7-FD49D639E33D}" type="presParOf" srcId="{93533B26-364F-014E-A891-6D8442BBCE18}" destId="{22A0A11E-34BD-0442-BCA0-44161B492947}" srcOrd="1" destOrd="0" presId="urn:microsoft.com/office/officeart/2005/8/layout/orgChart1"/>
    <dgm:cxn modelId="{979C8D6A-FF1C-FA45-BE93-A6BDCD69407C}" type="presParOf" srcId="{93533B26-364F-014E-A891-6D8442BBCE18}" destId="{A1799FD4-5B2F-1C41-B7C0-8BBFCD6F98DD}" srcOrd="2" destOrd="0" presId="urn:microsoft.com/office/officeart/2005/8/layout/orgChart1"/>
    <dgm:cxn modelId="{1895241D-2936-B049-9539-9805E868F6FC}" type="presParOf" srcId="{C0502B14-1B52-7042-ACC0-DA1514170E49}" destId="{9E34D8F1-0307-C841-BE9B-4EB460341C22}" srcOrd="2" destOrd="0" presId="urn:microsoft.com/office/officeart/2005/8/layout/orgChart1"/>
    <dgm:cxn modelId="{3735ECBC-7C24-2C42-A601-B5E4BC7F3BE8}" type="presParOf" srcId="{C176592F-E087-B04D-9588-EF6FC2F92869}" destId="{1480E8B4-F1B6-8246-9806-7D2D0CB68815}" srcOrd="8" destOrd="0" presId="urn:microsoft.com/office/officeart/2005/8/layout/orgChart1"/>
    <dgm:cxn modelId="{7F278E73-C66F-674B-B06F-406F215D162A}" type="presParOf" srcId="{C176592F-E087-B04D-9588-EF6FC2F92869}" destId="{38784AEE-09B7-0C47-8227-D02D0F1EDC40}" srcOrd="9" destOrd="0" presId="urn:microsoft.com/office/officeart/2005/8/layout/orgChart1"/>
    <dgm:cxn modelId="{9E57A345-A34B-4540-BE09-4AA1EA94262F}" type="presParOf" srcId="{38784AEE-09B7-0C47-8227-D02D0F1EDC40}" destId="{1B5211C4-1365-1640-A178-1D467A02D08A}" srcOrd="0" destOrd="0" presId="urn:microsoft.com/office/officeart/2005/8/layout/orgChart1"/>
    <dgm:cxn modelId="{C2FE9EC5-7FAE-4A42-8743-F4EE905FE214}" type="presParOf" srcId="{1B5211C4-1365-1640-A178-1D467A02D08A}" destId="{572E3CDC-5D66-514E-8912-D04551846EC7}" srcOrd="0" destOrd="0" presId="urn:microsoft.com/office/officeart/2005/8/layout/orgChart1"/>
    <dgm:cxn modelId="{5E0C6F80-DE35-1545-B7F4-85907715EE99}" type="presParOf" srcId="{1B5211C4-1365-1640-A178-1D467A02D08A}" destId="{64829248-69CA-0B4E-875C-600221CC892E}" srcOrd="1" destOrd="0" presId="urn:microsoft.com/office/officeart/2005/8/layout/orgChart1"/>
    <dgm:cxn modelId="{B63E2B2D-86A9-FA42-A3BE-C47DE4D6CB8D}" type="presParOf" srcId="{38784AEE-09B7-0C47-8227-D02D0F1EDC40}" destId="{EB7C6A82-1BAB-C84F-ABFF-4175D1E01329}" srcOrd="1" destOrd="0" presId="urn:microsoft.com/office/officeart/2005/8/layout/orgChart1"/>
    <dgm:cxn modelId="{B2E73C86-FEDE-6244-82FE-56051D53AA25}" type="presParOf" srcId="{EB7C6A82-1BAB-C84F-ABFF-4175D1E01329}" destId="{44F6E45F-C07E-304C-AB67-8E8552A42778}" srcOrd="0" destOrd="0" presId="urn:microsoft.com/office/officeart/2005/8/layout/orgChart1"/>
    <dgm:cxn modelId="{22B536DB-6582-2947-9CBC-FA6EB1287CD6}" type="presParOf" srcId="{EB7C6A82-1BAB-C84F-ABFF-4175D1E01329}" destId="{2208A308-1D10-494E-B09E-F544AF8068C3}" srcOrd="1" destOrd="0" presId="urn:microsoft.com/office/officeart/2005/8/layout/orgChart1"/>
    <dgm:cxn modelId="{52B04DED-DFEA-734F-9F48-D7A941D6D5FE}" type="presParOf" srcId="{2208A308-1D10-494E-B09E-F544AF8068C3}" destId="{52F1A2B4-5B26-7844-A417-F9A302DD4377}" srcOrd="0" destOrd="0" presId="urn:microsoft.com/office/officeart/2005/8/layout/orgChart1"/>
    <dgm:cxn modelId="{72BE99F0-0ECA-CE44-B47B-4DC32D219BED}" type="presParOf" srcId="{52F1A2B4-5B26-7844-A417-F9A302DD4377}" destId="{312925C6-1321-8C4D-8ECE-565EBD85AA53}" srcOrd="0" destOrd="0" presId="urn:microsoft.com/office/officeart/2005/8/layout/orgChart1"/>
    <dgm:cxn modelId="{35424F78-0C39-F742-A0B7-58E028529217}" type="presParOf" srcId="{52F1A2B4-5B26-7844-A417-F9A302DD4377}" destId="{51242648-056D-864F-A823-CF2B10E36DC5}" srcOrd="1" destOrd="0" presId="urn:microsoft.com/office/officeart/2005/8/layout/orgChart1"/>
    <dgm:cxn modelId="{075231EC-2AC0-8641-A554-F8279FE8AB11}" type="presParOf" srcId="{2208A308-1D10-494E-B09E-F544AF8068C3}" destId="{101F8E47-0BE7-944C-B421-13AA797AD0FE}" srcOrd="1" destOrd="0" presId="urn:microsoft.com/office/officeart/2005/8/layout/orgChart1"/>
    <dgm:cxn modelId="{2AAB6E7B-1B48-A843-8650-51E46476B445}" type="presParOf" srcId="{2208A308-1D10-494E-B09E-F544AF8068C3}" destId="{63EE6A4D-0BB5-9F46-BC36-0F3CE16A1208}" srcOrd="2" destOrd="0" presId="urn:microsoft.com/office/officeart/2005/8/layout/orgChart1"/>
    <dgm:cxn modelId="{D5CF7E83-74A5-504D-92CD-45300409719F}" type="presParOf" srcId="{EB7C6A82-1BAB-C84F-ABFF-4175D1E01329}" destId="{6440B106-7C72-9547-AE5A-A590A6A7292B}" srcOrd="2" destOrd="0" presId="urn:microsoft.com/office/officeart/2005/8/layout/orgChart1"/>
    <dgm:cxn modelId="{18FD48C3-643E-C54C-BD06-26CC4BF8C11D}" type="presParOf" srcId="{EB7C6A82-1BAB-C84F-ABFF-4175D1E01329}" destId="{BAC73BF8-8458-2342-9ECA-03ADDC1723E5}" srcOrd="3" destOrd="0" presId="urn:microsoft.com/office/officeart/2005/8/layout/orgChart1"/>
    <dgm:cxn modelId="{BCEDA4CD-3593-B048-B5F0-1681B1EA0A63}" type="presParOf" srcId="{BAC73BF8-8458-2342-9ECA-03ADDC1723E5}" destId="{0C073428-45A6-A444-B614-5DE374C411EB}" srcOrd="0" destOrd="0" presId="urn:microsoft.com/office/officeart/2005/8/layout/orgChart1"/>
    <dgm:cxn modelId="{004C6906-16D1-5141-9B25-0B775F321A3C}" type="presParOf" srcId="{0C073428-45A6-A444-B614-5DE374C411EB}" destId="{96DE10DD-2A27-1E4E-A6B9-8640BCC5A191}" srcOrd="0" destOrd="0" presId="urn:microsoft.com/office/officeart/2005/8/layout/orgChart1"/>
    <dgm:cxn modelId="{D705D7CB-7BC8-E34C-BF0E-D1C239C7723E}" type="presParOf" srcId="{0C073428-45A6-A444-B614-5DE374C411EB}" destId="{8F158EFB-F898-3C42-9661-FD99398859DA}" srcOrd="1" destOrd="0" presId="urn:microsoft.com/office/officeart/2005/8/layout/orgChart1"/>
    <dgm:cxn modelId="{C69093E1-0F98-3C49-B53E-61114353EA48}" type="presParOf" srcId="{BAC73BF8-8458-2342-9ECA-03ADDC1723E5}" destId="{115DEFFC-01B6-BC42-A789-F0A80147F2CC}" srcOrd="1" destOrd="0" presId="urn:microsoft.com/office/officeart/2005/8/layout/orgChart1"/>
    <dgm:cxn modelId="{467A2AFA-FCED-9E4A-8AEA-43B649129EF2}" type="presParOf" srcId="{BAC73BF8-8458-2342-9ECA-03ADDC1723E5}" destId="{B17F80B3-A6DC-D645-A595-41D80D4CE969}" srcOrd="2" destOrd="0" presId="urn:microsoft.com/office/officeart/2005/8/layout/orgChart1"/>
    <dgm:cxn modelId="{CB364FA4-5F8F-8845-9812-5C6EE20F038F}" type="presParOf" srcId="{EB7C6A82-1BAB-C84F-ABFF-4175D1E01329}" destId="{65969C0C-C4EF-8044-B112-A2052B5FA261}" srcOrd="4" destOrd="0" presId="urn:microsoft.com/office/officeart/2005/8/layout/orgChart1"/>
    <dgm:cxn modelId="{BA9E218A-05A9-EE45-A704-FEFBF8A242E5}" type="presParOf" srcId="{EB7C6A82-1BAB-C84F-ABFF-4175D1E01329}" destId="{15CB5C64-C278-794E-82CF-052985D0BE92}" srcOrd="5" destOrd="0" presId="urn:microsoft.com/office/officeart/2005/8/layout/orgChart1"/>
    <dgm:cxn modelId="{5A471804-1D21-9244-8E7F-AE9DB508459F}" type="presParOf" srcId="{15CB5C64-C278-794E-82CF-052985D0BE92}" destId="{BA365489-556A-C940-A00F-72AECC305955}" srcOrd="0" destOrd="0" presId="urn:microsoft.com/office/officeart/2005/8/layout/orgChart1"/>
    <dgm:cxn modelId="{824BBFB8-9468-2741-9D87-F25CF4B22364}" type="presParOf" srcId="{BA365489-556A-C940-A00F-72AECC305955}" destId="{210923D2-AC03-0946-B698-462DDD0B6542}" srcOrd="0" destOrd="0" presId="urn:microsoft.com/office/officeart/2005/8/layout/orgChart1"/>
    <dgm:cxn modelId="{C9B31AFB-7FC4-3345-817F-C8DA54B16B53}" type="presParOf" srcId="{BA365489-556A-C940-A00F-72AECC305955}" destId="{2CA7FC21-BB86-E144-A530-0AA3F7C11ADE}" srcOrd="1" destOrd="0" presId="urn:microsoft.com/office/officeart/2005/8/layout/orgChart1"/>
    <dgm:cxn modelId="{823631DE-F6F4-D948-9981-9431048461EA}" type="presParOf" srcId="{15CB5C64-C278-794E-82CF-052985D0BE92}" destId="{AB10E984-B840-EA4C-B0FD-663FD1FBE1EE}" srcOrd="1" destOrd="0" presId="urn:microsoft.com/office/officeart/2005/8/layout/orgChart1"/>
    <dgm:cxn modelId="{BA509112-B785-344D-8AA6-9F75B4187072}" type="presParOf" srcId="{15CB5C64-C278-794E-82CF-052985D0BE92}" destId="{A0B7D572-0CBF-904A-8189-72905D552A09}" srcOrd="2" destOrd="0" presId="urn:microsoft.com/office/officeart/2005/8/layout/orgChart1"/>
    <dgm:cxn modelId="{560B891C-9EDA-6A4F-9CC5-3F382F30A6EC}" type="presParOf" srcId="{38784AEE-09B7-0C47-8227-D02D0F1EDC40}" destId="{0D4ABEBA-7F67-174B-9D14-25EB0F873638}" srcOrd="2" destOrd="0" presId="urn:microsoft.com/office/officeart/2005/8/layout/orgChart1"/>
    <dgm:cxn modelId="{A384298B-6260-F640-A2CD-B7971C8EA615}" type="presParOf" srcId="{C176592F-E087-B04D-9588-EF6FC2F92869}" destId="{FD0BC2B8-08A5-504D-8B97-A8DFE6F2353D}" srcOrd="10" destOrd="0" presId="urn:microsoft.com/office/officeart/2005/8/layout/orgChart1"/>
    <dgm:cxn modelId="{58D45E4C-9067-7740-9839-D486F6699D49}" type="presParOf" srcId="{C176592F-E087-B04D-9588-EF6FC2F92869}" destId="{4D65A84D-8A4B-FF46-8FC4-DF9823B8C901}" srcOrd="11" destOrd="0" presId="urn:microsoft.com/office/officeart/2005/8/layout/orgChart1"/>
    <dgm:cxn modelId="{B76F4932-2A6A-1A42-851F-9A2E8D0EA0CF}" type="presParOf" srcId="{4D65A84D-8A4B-FF46-8FC4-DF9823B8C901}" destId="{03C01BD0-EEC3-1044-9FF9-FA46EBEE4A5A}" srcOrd="0" destOrd="0" presId="urn:microsoft.com/office/officeart/2005/8/layout/orgChart1"/>
    <dgm:cxn modelId="{E2561F16-EB62-8042-9219-556C6938AAF2}" type="presParOf" srcId="{03C01BD0-EEC3-1044-9FF9-FA46EBEE4A5A}" destId="{0FE69002-AB56-3740-A6BE-C29542137A47}" srcOrd="0" destOrd="0" presId="urn:microsoft.com/office/officeart/2005/8/layout/orgChart1"/>
    <dgm:cxn modelId="{06895E11-E3C3-D041-B77E-76E8DE983E1B}" type="presParOf" srcId="{03C01BD0-EEC3-1044-9FF9-FA46EBEE4A5A}" destId="{78596C7B-EEAE-2041-808D-BB85B551442B}" srcOrd="1" destOrd="0" presId="urn:microsoft.com/office/officeart/2005/8/layout/orgChart1"/>
    <dgm:cxn modelId="{BC48A375-D6CA-9F4B-ADFC-BAE03825B533}" type="presParOf" srcId="{4D65A84D-8A4B-FF46-8FC4-DF9823B8C901}" destId="{5D17771E-4B1E-524B-BB1A-B729F8A623F9}" srcOrd="1" destOrd="0" presId="urn:microsoft.com/office/officeart/2005/8/layout/orgChart1"/>
    <dgm:cxn modelId="{4C3291A6-C90B-4442-A357-89E1D448E090}" type="presParOf" srcId="{5D17771E-4B1E-524B-BB1A-B729F8A623F9}" destId="{18EACF5C-66CA-3E4D-8C5C-FF5941FDB285}" srcOrd="0" destOrd="0" presId="urn:microsoft.com/office/officeart/2005/8/layout/orgChart1"/>
    <dgm:cxn modelId="{6AECBDED-7CE1-6F44-948F-F9BDE378DB5D}" type="presParOf" srcId="{5D17771E-4B1E-524B-BB1A-B729F8A623F9}" destId="{6C7DB993-CCDC-324F-8775-E1F06DD4FFD7}" srcOrd="1" destOrd="0" presId="urn:microsoft.com/office/officeart/2005/8/layout/orgChart1"/>
    <dgm:cxn modelId="{2C44ECAD-762A-EF47-9DEB-E380CD38EE04}" type="presParOf" srcId="{6C7DB993-CCDC-324F-8775-E1F06DD4FFD7}" destId="{D4DA819A-9F1A-9344-ADAA-3A8DDECA6851}" srcOrd="0" destOrd="0" presId="urn:microsoft.com/office/officeart/2005/8/layout/orgChart1"/>
    <dgm:cxn modelId="{B887005E-E8DB-7948-9D2C-3D0B82AE5E1A}" type="presParOf" srcId="{D4DA819A-9F1A-9344-ADAA-3A8DDECA6851}" destId="{3F382FC2-12CB-D943-89ED-75CADBE6B2B9}" srcOrd="0" destOrd="0" presId="urn:microsoft.com/office/officeart/2005/8/layout/orgChart1"/>
    <dgm:cxn modelId="{728D9E1C-C557-DB49-B832-07FBDE21ACFD}" type="presParOf" srcId="{D4DA819A-9F1A-9344-ADAA-3A8DDECA6851}" destId="{A9018DA5-07A6-1047-8906-D5CEBD268137}" srcOrd="1" destOrd="0" presId="urn:microsoft.com/office/officeart/2005/8/layout/orgChart1"/>
    <dgm:cxn modelId="{85913557-6787-2740-B710-3929AFC78B73}" type="presParOf" srcId="{6C7DB993-CCDC-324F-8775-E1F06DD4FFD7}" destId="{B5813A8B-06F6-9048-B681-BC00AA738FE4}" srcOrd="1" destOrd="0" presId="urn:microsoft.com/office/officeart/2005/8/layout/orgChart1"/>
    <dgm:cxn modelId="{BE2E1B04-56D5-2E49-BBCE-620036DF4659}" type="presParOf" srcId="{6C7DB993-CCDC-324F-8775-E1F06DD4FFD7}" destId="{95C46E87-2E48-C342-A249-297A911EA1BF}" srcOrd="2" destOrd="0" presId="urn:microsoft.com/office/officeart/2005/8/layout/orgChart1"/>
    <dgm:cxn modelId="{4468F6CF-66A8-5D46-8C6C-B74810CC44F4}" type="presParOf" srcId="{5D17771E-4B1E-524B-BB1A-B729F8A623F9}" destId="{CE80B93D-D000-8B4B-8100-E0B67DB0E877}" srcOrd="2" destOrd="0" presId="urn:microsoft.com/office/officeart/2005/8/layout/orgChart1"/>
    <dgm:cxn modelId="{F9892D1B-40E8-C547-A499-50859B8E8AE8}" type="presParOf" srcId="{5D17771E-4B1E-524B-BB1A-B729F8A623F9}" destId="{135F96AC-C0EB-DF47-A8C8-A7B4CD21E5E7}" srcOrd="3" destOrd="0" presId="urn:microsoft.com/office/officeart/2005/8/layout/orgChart1"/>
    <dgm:cxn modelId="{8B248E2C-DED6-034B-8859-0E14A4E3BC9F}" type="presParOf" srcId="{135F96AC-C0EB-DF47-A8C8-A7B4CD21E5E7}" destId="{211E14D2-36F3-F344-B001-DAEE9207C99A}" srcOrd="0" destOrd="0" presId="urn:microsoft.com/office/officeart/2005/8/layout/orgChart1"/>
    <dgm:cxn modelId="{FF47DC0F-377A-2946-BB76-F4BA70104529}" type="presParOf" srcId="{211E14D2-36F3-F344-B001-DAEE9207C99A}" destId="{EA99EEAC-15F9-BB4A-A17F-8DF66EAF1CDC}" srcOrd="0" destOrd="0" presId="urn:microsoft.com/office/officeart/2005/8/layout/orgChart1"/>
    <dgm:cxn modelId="{5A3CF1D2-A7D9-2B47-91AF-F505D4B6313A}" type="presParOf" srcId="{211E14D2-36F3-F344-B001-DAEE9207C99A}" destId="{AF27EFD7-AEE3-5142-9BFD-36D0D1B36002}" srcOrd="1" destOrd="0" presId="urn:microsoft.com/office/officeart/2005/8/layout/orgChart1"/>
    <dgm:cxn modelId="{A50BF911-DC3D-404E-982D-336658610EC4}" type="presParOf" srcId="{135F96AC-C0EB-DF47-A8C8-A7B4CD21E5E7}" destId="{9C8E7226-45B7-4C4E-9BE3-277B0CB35A46}" srcOrd="1" destOrd="0" presId="urn:microsoft.com/office/officeart/2005/8/layout/orgChart1"/>
    <dgm:cxn modelId="{791C4C80-5816-484D-91D9-D7CDE45CF0CC}" type="presParOf" srcId="{135F96AC-C0EB-DF47-A8C8-A7B4CD21E5E7}" destId="{B654A497-F541-7549-BE0E-498FA6C82A50}" srcOrd="2" destOrd="0" presId="urn:microsoft.com/office/officeart/2005/8/layout/orgChart1"/>
    <dgm:cxn modelId="{5C97B229-C15A-3648-8377-AFB023EAC11C}" type="presParOf" srcId="{5D17771E-4B1E-524B-BB1A-B729F8A623F9}" destId="{EE101F31-B493-FC4F-BA98-4DA93A046699}" srcOrd="4" destOrd="0" presId="urn:microsoft.com/office/officeart/2005/8/layout/orgChart1"/>
    <dgm:cxn modelId="{9024B493-08D7-1649-9D3C-2E3D1892F843}" type="presParOf" srcId="{5D17771E-4B1E-524B-BB1A-B729F8A623F9}" destId="{743FC97E-EDF8-8440-9167-2FF59851F03F}" srcOrd="5" destOrd="0" presId="urn:microsoft.com/office/officeart/2005/8/layout/orgChart1"/>
    <dgm:cxn modelId="{C47AD54D-A4BE-1E45-BAD0-601A1BEE985C}" type="presParOf" srcId="{743FC97E-EDF8-8440-9167-2FF59851F03F}" destId="{72E8E29A-9051-694D-A417-CE6EE9089A15}" srcOrd="0" destOrd="0" presId="urn:microsoft.com/office/officeart/2005/8/layout/orgChart1"/>
    <dgm:cxn modelId="{3FF72D99-073F-5049-9265-76338B6051F2}" type="presParOf" srcId="{72E8E29A-9051-694D-A417-CE6EE9089A15}" destId="{72D53164-9DF1-584A-A8A9-A81741EC7864}" srcOrd="0" destOrd="0" presId="urn:microsoft.com/office/officeart/2005/8/layout/orgChart1"/>
    <dgm:cxn modelId="{0FD3D947-2CC0-1845-841A-B9F7F2933F6C}" type="presParOf" srcId="{72E8E29A-9051-694D-A417-CE6EE9089A15}" destId="{5108E4B9-C933-084B-87BD-17BA21FAC394}" srcOrd="1" destOrd="0" presId="urn:microsoft.com/office/officeart/2005/8/layout/orgChart1"/>
    <dgm:cxn modelId="{DEDBFDF4-475C-0348-8244-93932898E75F}" type="presParOf" srcId="{743FC97E-EDF8-8440-9167-2FF59851F03F}" destId="{649410E7-1B76-0045-8BBB-B901D379D30D}" srcOrd="1" destOrd="0" presId="urn:microsoft.com/office/officeart/2005/8/layout/orgChart1"/>
    <dgm:cxn modelId="{70662648-E075-8E4C-BD26-9D1DFD06C796}" type="presParOf" srcId="{743FC97E-EDF8-8440-9167-2FF59851F03F}" destId="{71FE410D-3141-9A4F-B3B0-E72482DDAA9E}" srcOrd="2" destOrd="0" presId="urn:microsoft.com/office/officeart/2005/8/layout/orgChart1"/>
    <dgm:cxn modelId="{740BDD59-41F9-EE40-B728-38D4DC39C613}" type="presParOf" srcId="{4D65A84D-8A4B-FF46-8FC4-DF9823B8C901}" destId="{563039BE-2DC6-AF4D-A183-8E60493152DD}" srcOrd="2" destOrd="0" presId="urn:microsoft.com/office/officeart/2005/8/layout/orgChart1"/>
    <dgm:cxn modelId="{2895C982-71F2-964A-958F-C69290C9057F}" type="presParOf" srcId="{01768E30-7C00-9D46-B106-9803EF77DB72}" destId="{42EF44E0-7DBD-CF4E-9797-0AB81CD9C8EC}" srcOrd="2" destOrd="0" presId="urn:microsoft.com/office/officeart/2005/8/layout/orgChar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A02BDE-F9F8-534B-AFBE-F69D41738C15}">
      <dsp:nvSpPr>
        <dsp:cNvPr id="0" name=""/>
        <dsp:cNvSpPr/>
      </dsp:nvSpPr>
      <dsp:spPr>
        <a:xfrm>
          <a:off x="16083519" y="5161787"/>
          <a:ext cx="1823248" cy="867700"/>
        </a:xfrm>
        <a:custGeom>
          <a:avLst/>
          <a:gdLst/>
          <a:ahLst/>
          <a:cxnLst/>
          <a:rect l="0" t="0" r="0" b="0"/>
          <a:pathLst>
            <a:path>
              <a:moveTo>
                <a:pt x="0" y="0"/>
              </a:moveTo>
              <a:lnTo>
                <a:pt x="0" y="591312"/>
              </a:lnTo>
              <a:lnTo>
                <a:pt x="1823248" y="591312"/>
              </a:lnTo>
              <a:lnTo>
                <a:pt x="1823248" y="867700"/>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7896787E-B596-3D47-AF70-7BF1181711DA}">
      <dsp:nvSpPr>
        <dsp:cNvPr id="0" name=""/>
        <dsp:cNvSpPr/>
      </dsp:nvSpPr>
      <dsp:spPr>
        <a:xfrm>
          <a:off x="14260271" y="5161787"/>
          <a:ext cx="1823248" cy="867700"/>
        </a:xfrm>
        <a:custGeom>
          <a:avLst/>
          <a:gdLst/>
          <a:ahLst/>
          <a:cxnLst/>
          <a:rect l="0" t="0" r="0" b="0"/>
          <a:pathLst>
            <a:path>
              <a:moveTo>
                <a:pt x="1823248" y="0"/>
              </a:moveTo>
              <a:lnTo>
                <a:pt x="1823248" y="591312"/>
              </a:lnTo>
              <a:lnTo>
                <a:pt x="0" y="591312"/>
              </a:lnTo>
              <a:lnTo>
                <a:pt x="0" y="867700"/>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3C56EFE0-A99A-1A4E-8820-C664E6B497CB}">
      <dsp:nvSpPr>
        <dsp:cNvPr id="0" name=""/>
        <dsp:cNvSpPr/>
      </dsp:nvSpPr>
      <dsp:spPr>
        <a:xfrm>
          <a:off x="11525398" y="2399565"/>
          <a:ext cx="4558121" cy="867700"/>
        </a:xfrm>
        <a:custGeom>
          <a:avLst/>
          <a:gdLst/>
          <a:ahLst/>
          <a:cxnLst/>
          <a:rect l="0" t="0" r="0" b="0"/>
          <a:pathLst>
            <a:path>
              <a:moveTo>
                <a:pt x="0" y="0"/>
              </a:moveTo>
              <a:lnTo>
                <a:pt x="0" y="591312"/>
              </a:lnTo>
              <a:lnTo>
                <a:pt x="4558121" y="591312"/>
              </a:lnTo>
              <a:lnTo>
                <a:pt x="4558121" y="867700"/>
              </a:lnTo>
            </a:path>
          </a:pathLst>
        </a:custGeom>
        <a:noFill/>
        <a:ln w="2540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4BDD72AF-9300-FE41-87F4-27880B7B7760}">
      <dsp:nvSpPr>
        <dsp:cNvPr id="0" name=""/>
        <dsp:cNvSpPr/>
      </dsp:nvSpPr>
      <dsp:spPr>
        <a:xfrm>
          <a:off x="10613773" y="7924008"/>
          <a:ext cx="1823248" cy="867700"/>
        </a:xfrm>
        <a:custGeom>
          <a:avLst/>
          <a:gdLst/>
          <a:ahLst/>
          <a:cxnLst/>
          <a:rect l="0" t="0" r="0" b="0"/>
          <a:pathLst>
            <a:path>
              <a:moveTo>
                <a:pt x="0" y="0"/>
              </a:moveTo>
              <a:lnTo>
                <a:pt x="0" y="591312"/>
              </a:lnTo>
              <a:lnTo>
                <a:pt x="1823248" y="591312"/>
              </a:lnTo>
              <a:lnTo>
                <a:pt x="1823248" y="867700"/>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C0E88B73-3140-9B45-ADBE-E381220B76C4}">
      <dsp:nvSpPr>
        <dsp:cNvPr id="0" name=""/>
        <dsp:cNvSpPr/>
      </dsp:nvSpPr>
      <dsp:spPr>
        <a:xfrm>
          <a:off x="8790525" y="7924008"/>
          <a:ext cx="1823248" cy="867700"/>
        </a:xfrm>
        <a:custGeom>
          <a:avLst/>
          <a:gdLst/>
          <a:ahLst/>
          <a:cxnLst/>
          <a:rect l="0" t="0" r="0" b="0"/>
          <a:pathLst>
            <a:path>
              <a:moveTo>
                <a:pt x="1823248" y="0"/>
              </a:moveTo>
              <a:lnTo>
                <a:pt x="1823248" y="591312"/>
              </a:lnTo>
              <a:lnTo>
                <a:pt x="0" y="591312"/>
              </a:lnTo>
              <a:lnTo>
                <a:pt x="0" y="867700"/>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787BAEBB-C6A5-4846-B73F-5052A7752B7A}">
      <dsp:nvSpPr>
        <dsp:cNvPr id="0" name=""/>
        <dsp:cNvSpPr/>
      </dsp:nvSpPr>
      <dsp:spPr>
        <a:xfrm>
          <a:off x="6967276" y="5161787"/>
          <a:ext cx="3646497" cy="867700"/>
        </a:xfrm>
        <a:custGeom>
          <a:avLst/>
          <a:gdLst/>
          <a:ahLst/>
          <a:cxnLst/>
          <a:rect l="0" t="0" r="0" b="0"/>
          <a:pathLst>
            <a:path>
              <a:moveTo>
                <a:pt x="0" y="0"/>
              </a:moveTo>
              <a:lnTo>
                <a:pt x="0" y="591312"/>
              </a:lnTo>
              <a:lnTo>
                <a:pt x="3646497" y="591312"/>
              </a:lnTo>
              <a:lnTo>
                <a:pt x="3646497" y="867700"/>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251B4CA8-FD13-D240-A91B-57DBF1DB0415}">
      <dsp:nvSpPr>
        <dsp:cNvPr id="0" name=""/>
        <dsp:cNvSpPr/>
      </dsp:nvSpPr>
      <dsp:spPr>
        <a:xfrm>
          <a:off x="3320779" y="7924008"/>
          <a:ext cx="1823248" cy="867700"/>
        </a:xfrm>
        <a:custGeom>
          <a:avLst/>
          <a:gdLst/>
          <a:ahLst/>
          <a:cxnLst/>
          <a:rect l="0" t="0" r="0" b="0"/>
          <a:pathLst>
            <a:path>
              <a:moveTo>
                <a:pt x="0" y="0"/>
              </a:moveTo>
              <a:lnTo>
                <a:pt x="0" y="591312"/>
              </a:lnTo>
              <a:lnTo>
                <a:pt x="1823248" y="591312"/>
              </a:lnTo>
              <a:lnTo>
                <a:pt x="1823248" y="867700"/>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91DB0BAF-F501-9549-878A-8E209792FD32}">
      <dsp:nvSpPr>
        <dsp:cNvPr id="0" name=""/>
        <dsp:cNvSpPr/>
      </dsp:nvSpPr>
      <dsp:spPr>
        <a:xfrm>
          <a:off x="1497530" y="7924008"/>
          <a:ext cx="1823248" cy="867700"/>
        </a:xfrm>
        <a:custGeom>
          <a:avLst/>
          <a:gdLst/>
          <a:ahLst/>
          <a:cxnLst/>
          <a:rect l="0" t="0" r="0" b="0"/>
          <a:pathLst>
            <a:path>
              <a:moveTo>
                <a:pt x="1823248" y="0"/>
              </a:moveTo>
              <a:lnTo>
                <a:pt x="1823248" y="591312"/>
              </a:lnTo>
              <a:lnTo>
                <a:pt x="0" y="591312"/>
              </a:lnTo>
              <a:lnTo>
                <a:pt x="0" y="867700"/>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2B82377D-A4E1-994D-B2C3-C7E946B729C5}">
      <dsp:nvSpPr>
        <dsp:cNvPr id="0" name=""/>
        <dsp:cNvSpPr/>
      </dsp:nvSpPr>
      <dsp:spPr>
        <a:xfrm>
          <a:off x="3320779" y="5161787"/>
          <a:ext cx="3646497" cy="867700"/>
        </a:xfrm>
        <a:custGeom>
          <a:avLst/>
          <a:gdLst/>
          <a:ahLst/>
          <a:cxnLst/>
          <a:rect l="0" t="0" r="0" b="0"/>
          <a:pathLst>
            <a:path>
              <a:moveTo>
                <a:pt x="3646497" y="0"/>
              </a:moveTo>
              <a:lnTo>
                <a:pt x="3646497" y="591312"/>
              </a:lnTo>
              <a:lnTo>
                <a:pt x="0" y="591312"/>
              </a:lnTo>
              <a:lnTo>
                <a:pt x="0" y="867700"/>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F12BE241-1196-654B-9ADB-5C9E9D65C988}">
      <dsp:nvSpPr>
        <dsp:cNvPr id="0" name=""/>
        <dsp:cNvSpPr/>
      </dsp:nvSpPr>
      <dsp:spPr>
        <a:xfrm>
          <a:off x="6967276" y="2399565"/>
          <a:ext cx="4558121" cy="867700"/>
        </a:xfrm>
        <a:custGeom>
          <a:avLst/>
          <a:gdLst/>
          <a:ahLst/>
          <a:cxnLst/>
          <a:rect l="0" t="0" r="0" b="0"/>
          <a:pathLst>
            <a:path>
              <a:moveTo>
                <a:pt x="4558121" y="0"/>
              </a:moveTo>
              <a:lnTo>
                <a:pt x="4558121" y="591312"/>
              </a:lnTo>
              <a:lnTo>
                <a:pt x="0" y="591312"/>
              </a:lnTo>
              <a:lnTo>
                <a:pt x="0" y="867700"/>
              </a:lnTo>
            </a:path>
          </a:pathLst>
        </a:custGeom>
        <a:noFill/>
        <a:ln w="2540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1B9369A3-05A5-9A4E-B39B-323DAD44EC7D}">
      <dsp:nvSpPr>
        <dsp:cNvPr id="0" name=""/>
        <dsp:cNvSpPr/>
      </dsp:nvSpPr>
      <dsp:spPr>
        <a:xfrm>
          <a:off x="10033649" y="505044"/>
          <a:ext cx="2983497" cy="1894521"/>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688CBFC9-CF51-6A4C-A892-4A80D3E91B9C}">
      <dsp:nvSpPr>
        <dsp:cNvPr id="0" name=""/>
        <dsp:cNvSpPr/>
      </dsp:nvSpPr>
      <dsp:spPr>
        <a:xfrm>
          <a:off x="10365149" y="819969"/>
          <a:ext cx="2983497" cy="1894521"/>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lvl="0" algn="ctr" defTabSz="1289050">
            <a:lnSpc>
              <a:spcPct val="90000"/>
            </a:lnSpc>
            <a:spcBef>
              <a:spcPct val="0"/>
            </a:spcBef>
            <a:spcAft>
              <a:spcPct val="35000"/>
            </a:spcAft>
          </a:pPr>
          <a:r>
            <a:rPr lang="en-US" sz="2900" b="1" kern="1200" dirty="0" smtClean="0">
              <a:solidFill>
                <a:schemeClr val="accent1">
                  <a:lumMod val="50000"/>
                </a:schemeClr>
              </a:solidFill>
              <a:effectLst>
                <a:outerShdw blurRad="50800" dist="38100" dir="2700000" algn="tl" rotWithShape="0">
                  <a:prstClr val="black">
                    <a:alpha val="40000"/>
                  </a:prstClr>
                </a:outerShdw>
              </a:effectLst>
            </a:rPr>
            <a:t>Revenue:</a:t>
          </a:r>
          <a:br>
            <a:rPr lang="en-US" sz="2900" b="1" kern="1200" dirty="0" smtClean="0">
              <a:solidFill>
                <a:schemeClr val="accent1">
                  <a:lumMod val="50000"/>
                </a:schemeClr>
              </a:solidFill>
              <a:effectLst>
                <a:outerShdw blurRad="50800" dist="38100" dir="2700000" algn="tl" rotWithShape="0">
                  <a:prstClr val="black">
                    <a:alpha val="40000"/>
                  </a:prstClr>
                </a:outerShdw>
              </a:effectLst>
            </a:rPr>
          </a:br>
          <a:r>
            <a:rPr lang="en-US" sz="2900" b="1" kern="1200" dirty="0" smtClean="0">
              <a:solidFill>
                <a:schemeClr val="accent1">
                  <a:lumMod val="50000"/>
                </a:schemeClr>
              </a:solidFill>
              <a:effectLst>
                <a:outerShdw blurRad="50800" dist="38100" dir="2700000" algn="tl" rotWithShape="0">
                  <a:prstClr val="black">
                    <a:alpha val="40000"/>
                  </a:prstClr>
                </a:outerShdw>
              </a:effectLst>
            </a:rPr>
            <a:t> </a:t>
          </a:r>
          <a:r>
            <a:rPr lang="en-US" sz="2900" b="0" kern="1200" dirty="0" smtClean="0">
              <a:solidFill>
                <a:schemeClr val="accent1">
                  <a:lumMod val="50000"/>
                </a:schemeClr>
              </a:solidFill>
              <a:effectLst>
                <a:outerShdw blurRad="50800" dist="38100" dir="2700000" algn="tl" rotWithShape="0">
                  <a:prstClr val="black">
                    <a:alpha val="40000"/>
                  </a:prstClr>
                </a:outerShdw>
              </a:effectLst>
            </a:rPr>
            <a:t>$2.0m</a:t>
          </a:r>
          <a:endParaRPr lang="en-US" sz="2900" b="0" kern="1200" dirty="0">
            <a:solidFill>
              <a:schemeClr val="accent1">
                <a:lumMod val="50000"/>
              </a:schemeClr>
            </a:solidFill>
            <a:effectLst>
              <a:outerShdw blurRad="50800" dist="38100" dir="2700000" algn="tl" rotWithShape="0">
                <a:prstClr val="black">
                  <a:alpha val="40000"/>
                </a:prstClr>
              </a:outerShdw>
            </a:effectLst>
          </a:endParaRPr>
        </a:p>
      </dsp:txBody>
      <dsp:txXfrm>
        <a:off x="10420638" y="875458"/>
        <a:ext cx="2872519" cy="1783543"/>
      </dsp:txXfrm>
    </dsp:sp>
    <dsp:sp modelId="{7ECDC231-B0B4-1044-90EF-2671056D5251}">
      <dsp:nvSpPr>
        <dsp:cNvPr id="0" name=""/>
        <dsp:cNvSpPr/>
      </dsp:nvSpPr>
      <dsp:spPr>
        <a:xfrm>
          <a:off x="5475527" y="3267266"/>
          <a:ext cx="2983497" cy="1894521"/>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D4AF2446-8BB2-BC44-9E58-102FAC90164A}">
      <dsp:nvSpPr>
        <dsp:cNvPr id="0" name=""/>
        <dsp:cNvSpPr/>
      </dsp:nvSpPr>
      <dsp:spPr>
        <a:xfrm>
          <a:off x="5807027" y="3582191"/>
          <a:ext cx="2983497" cy="1894521"/>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lvl="0" algn="ctr" defTabSz="1289050">
            <a:lnSpc>
              <a:spcPct val="90000"/>
            </a:lnSpc>
            <a:spcBef>
              <a:spcPct val="0"/>
            </a:spcBef>
            <a:spcAft>
              <a:spcPct val="35000"/>
            </a:spcAft>
          </a:pPr>
          <a:r>
            <a:rPr lang="en-US" sz="2900" b="1" kern="1200" dirty="0" smtClean="0">
              <a:solidFill>
                <a:schemeClr val="accent1">
                  <a:lumMod val="50000"/>
                </a:schemeClr>
              </a:solidFill>
              <a:effectLst>
                <a:outerShdw blurRad="50800" dist="38100" dir="2700000" algn="tl" rotWithShape="0">
                  <a:prstClr val="black">
                    <a:alpha val="40000"/>
                  </a:prstClr>
                </a:outerShdw>
              </a:effectLst>
            </a:rPr>
            <a:t>Revenue Per Visitor:</a:t>
          </a:r>
          <a:br>
            <a:rPr lang="en-US" sz="2900" b="1" kern="1200" dirty="0" smtClean="0">
              <a:solidFill>
                <a:schemeClr val="accent1">
                  <a:lumMod val="50000"/>
                </a:schemeClr>
              </a:solidFill>
              <a:effectLst>
                <a:outerShdw blurRad="50800" dist="38100" dir="2700000" algn="tl" rotWithShape="0">
                  <a:prstClr val="black">
                    <a:alpha val="40000"/>
                  </a:prstClr>
                </a:outerShdw>
              </a:effectLst>
            </a:rPr>
          </a:br>
          <a:r>
            <a:rPr lang="en-US" sz="2900" b="0" kern="1200" dirty="0" smtClean="0">
              <a:solidFill>
                <a:schemeClr val="accent1">
                  <a:lumMod val="50000"/>
                </a:schemeClr>
              </a:solidFill>
              <a:effectLst>
                <a:outerShdw blurRad="50800" dist="38100" dir="2700000" algn="tl" rotWithShape="0">
                  <a:prstClr val="black">
                    <a:alpha val="40000"/>
                  </a:prstClr>
                </a:outerShdw>
              </a:effectLst>
            </a:rPr>
            <a:t>$1.00</a:t>
          </a:r>
          <a:endParaRPr lang="en-US" sz="2900" b="0" kern="1200" dirty="0">
            <a:solidFill>
              <a:schemeClr val="accent1">
                <a:lumMod val="50000"/>
              </a:schemeClr>
            </a:solidFill>
            <a:effectLst>
              <a:outerShdw blurRad="50800" dist="38100" dir="2700000" algn="tl" rotWithShape="0">
                <a:prstClr val="black">
                  <a:alpha val="40000"/>
                </a:prstClr>
              </a:outerShdw>
            </a:effectLst>
          </a:endParaRPr>
        </a:p>
      </dsp:txBody>
      <dsp:txXfrm>
        <a:off x="5862516" y="3637680"/>
        <a:ext cx="2872519" cy="1783543"/>
      </dsp:txXfrm>
    </dsp:sp>
    <dsp:sp modelId="{A3249D03-CDCD-F743-9071-744E300E2489}">
      <dsp:nvSpPr>
        <dsp:cNvPr id="0" name=""/>
        <dsp:cNvSpPr/>
      </dsp:nvSpPr>
      <dsp:spPr>
        <a:xfrm>
          <a:off x="1829030" y="6029487"/>
          <a:ext cx="2983497" cy="1894521"/>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9A37EE48-0C7B-5543-95BA-2B866B6CFFC5}">
      <dsp:nvSpPr>
        <dsp:cNvPr id="0" name=""/>
        <dsp:cNvSpPr/>
      </dsp:nvSpPr>
      <dsp:spPr>
        <a:xfrm>
          <a:off x="2160530" y="6344412"/>
          <a:ext cx="2983497" cy="1894521"/>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lvl="0" algn="ctr" defTabSz="1289050">
            <a:lnSpc>
              <a:spcPct val="90000"/>
            </a:lnSpc>
            <a:spcBef>
              <a:spcPct val="0"/>
            </a:spcBef>
            <a:spcAft>
              <a:spcPct val="35000"/>
            </a:spcAft>
          </a:pPr>
          <a:r>
            <a:rPr lang="en-US" sz="2900" b="1" kern="1200" dirty="0" smtClean="0">
              <a:solidFill>
                <a:schemeClr val="accent1">
                  <a:lumMod val="50000"/>
                </a:schemeClr>
              </a:solidFill>
              <a:effectLst>
                <a:outerShdw blurRad="50800" dist="38100" dir="2700000" algn="tl" rotWithShape="0">
                  <a:prstClr val="black">
                    <a:alpha val="40000"/>
                  </a:prstClr>
                </a:outerShdw>
              </a:effectLst>
            </a:rPr>
            <a:t>Average Order Value:</a:t>
          </a:r>
          <a:br>
            <a:rPr lang="en-US" sz="2900" b="1" kern="1200" dirty="0" smtClean="0">
              <a:solidFill>
                <a:schemeClr val="accent1">
                  <a:lumMod val="50000"/>
                </a:schemeClr>
              </a:solidFill>
              <a:effectLst>
                <a:outerShdw blurRad="50800" dist="38100" dir="2700000" algn="tl" rotWithShape="0">
                  <a:prstClr val="black">
                    <a:alpha val="40000"/>
                  </a:prstClr>
                </a:outerShdw>
              </a:effectLst>
            </a:rPr>
          </a:br>
          <a:r>
            <a:rPr lang="en-US" sz="2900" b="0" kern="1200" dirty="0" smtClean="0">
              <a:solidFill>
                <a:schemeClr val="accent1">
                  <a:lumMod val="50000"/>
                </a:schemeClr>
              </a:solidFill>
              <a:effectLst>
                <a:outerShdw blurRad="50800" dist="38100" dir="2700000" algn="tl" rotWithShape="0">
                  <a:prstClr val="black">
                    <a:alpha val="40000"/>
                  </a:prstClr>
                </a:outerShdw>
              </a:effectLst>
            </a:rPr>
            <a:t>$50.00</a:t>
          </a:r>
          <a:endParaRPr lang="en-US" sz="2900" b="0" kern="1200" dirty="0">
            <a:solidFill>
              <a:schemeClr val="accent1">
                <a:lumMod val="50000"/>
              </a:schemeClr>
            </a:solidFill>
            <a:effectLst>
              <a:outerShdw blurRad="50800" dist="38100" dir="2700000" algn="tl" rotWithShape="0">
                <a:prstClr val="black">
                  <a:alpha val="40000"/>
                </a:prstClr>
              </a:outerShdw>
            </a:effectLst>
          </a:endParaRPr>
        </a:p>
      </dsp:txBody>
      <dsp:txXfrm>
        <a:off x="2216019" y="6399901"/>
        <a:ext cx="2872519" cy="1783543"/>
      </dsp:txXfrm>
    </dsp:sp>
    <dsp:sp modelId="{013E3F4F-50CC-2B4B-AEC0-1BEA47E18A54}">
      <dsp:nvSpPr>
        <dsp:cNvPr id="0" name=""/>
        <dsp:cNvSpPr/>
      </dsp:nvSpPr>
      <dsp:spPr>
        <a:xfrm>
          <a:off x="5781" y="8791709"/>
          <a:ext cx="2983497" cy="1894521"/>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5686E0BE-C1C5-EC45-8CAA-7F9452D02E34}">
      <dsp:nvSpPr>
        <dsp:cNvPr id="0" name=""/>
        <dsp:cNvSpPr/>
      </dsp:nvSpPr>
      <dsp:spPr>
        <a:xfrm>
          <a:off x="337281" y="9106634"/>
          <a:ext cx="2983497" cy="1894521"/>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lvl="0" algn="ctr" defTabSz="1289050">
            <a:lnSpc>
              <a:spcPct val="90000"/>
            </a:lnSpc>
            <a:spcBef>
              <a:spcPct val="0"/>
            </a:spcBef>
            <a:spcAft>
              <a:spcPct val="35000"/>
            </a:spcAft>
          </a:pPr>
          <a:r>
            <a:rPr lang="en-US" sz="2900" b="1" kern="1200" dirty="0" smtClean="0">
              <a:solidFill>
                <a:schemeClr val="accent1">
                  <a:lumMod val="50000"/>
                </a:schemeClr>
              </a:solidFill>
              <a:effectLst>
                <a:outerShdw blurRad="50800" dist="38100" dir="2700000" algn="tl" rotWithShape="0">
                  <a:prstClr val="black">
                    <a:alpha val="40000"/>
                  </a:prstClr>
                </a:outerShdw>
              </a:effectLst>
            </a:rPr>
            <a:t>Average  quantity:</a:t>
          </a:r>
          <a:br>
            <a:rPr lang="en-US" sz="2900" b="1" kern="1200" dirty="0" smtClean="0">
              <a:solidFill>
                <a:schemeClr val="accent1">
                  <a:lumMod val="50000"/>
                </a:schemeClr>
              </a:solidFill>
              <a:effectLst>
                <a:outerShdw blurRad="50800" dist="38100" dir="2700000" algn="tl" rotWithShape="0">
                  <a:prstClr val="black">
                    <a:alpha val="40000"/>
                  </a:prstClr>
                </a:outerShdw>
              </a:effectLst>
            </a:rPr>
          </a:br>
          <a:r>
            <a:rPr lang="en-US" sz="2900" b="0" kern="1200" dirty="0" smtClean="0">
              <a:solidFill>
                <a:schemeClr val="accent1">
                  <a:lumMod val="50000"/>
                </a:schemeClr>
              </a:solidFill>
              <a:effectLst>
                <a:outerShdw blurRad="50800" dist="38100" dir="2700000" algn="tl" rotWithShape="0">
                  <a:prstClr val="black">
                    <a:alpha val="40000"/>
                  </a:prstClr>
                </a:outerShdw>
              </a:effectLst>
            </a:rPr>
            <a:t>2.00</a:t>
          </a:r>
          <a:endParaRPr lang="en-US" sz="2900" b="0" kern="1200" dirty="0">
            <a:solidFill>
              <a:schemeClr val="accent1">
                <a:lumMod val="50000"/>
              </a:schemeClr>
            </a:solidFill>
            <a:effectLst>
              <a:outerShdw blurRad="50800" dist="38100" dir="2700000" algn="tl" rotWithShape="0">
                <a:prstClr val="black">
                  <a:alpha val="40000"/>
                </a:prstClr>
              </a:outerShdw>
            </a:effectLst>
          </a:endParaRPr>
        </a:p>
      </dsp:txBody>
      <dsp:txXfrm>
        <a:off x="392770" y="9162123"/>
        <a:ext cx="2872519" cy="1783543"/>
      </dsp:txXfrm>
    </dsp:sp>
    <dsp:sp modelId="{F03A88C2-D2CD-2748-B889-C91C65E6E2BB}">
      <dsp:nvSpPr>
        <dsp:cNvPr id="0" name=""/>
        <dsp:cNvSpPr/>
      </dsp:nvSpPr>
      <dsp:spPr>
        <a:xfrm>
          <a:off x="3652279" y="8791709"/>
          <a:ext cx="2983497" cy="1894521"/>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3E6EA152-4905-344C-9D27-1F4340B46C4C}">
      <dsp:nvSpPr>
        <dsp:cNvPr id="0" name=""/>
        <dsp:cNvSpPr/>
      </dsp:nvSpPr>
      <dsp:spPr>
        <a:xfrm>
          <a:off x="3983778" y="9106634"/>
          <a:ext cx="2983497" cy="1894521"/>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lvl="0" algn="ctr" defTabSz="1289050">
            <a:lnSpc>
              <a:spcPct val="90000"/>
            </a:lnSpc>
            <a:spcBef>
              <a:spcPct val="0"/>
            </a:spcBef>
            <a:spcAft>
              <a:spcPct val="35000"/>
            </a:spcAft>
          </a:pPr>
          <a:r>
            <a:rPr lang="en-US" sz="2900" b="1" kern="1200" dirty="0" smtClean="0">
              <a:solidFill>
                <a:schemeClr val="accent1">
                  <a:lumMod val="50000"/>
                </a:schemeClr>
              </a:solidFill>
              <a:effectLst>
                <a:outerShdw blurRad="50800" dist="38100" dir="2700000" algn="tl" rotWithShape="0">
                  <a:prstClr val="black">
                    <a:alpha val="40000"/>
                  </a:prstClr>
                </a:outerShdw>
              </a:effectLst>
            </a:rPr>
            <a:t>Average per unit price:</a:t>
          </a:r>
          <a:br>
            <a:rPr lang="en-US" sz="2900" b="1" kern="1200" dirty="0" smtClean="0">
              <a:solidFill>
                <a:schemeClr val="accent1">
                  <a:lumMod val="50000"/>
                </a:schemeClr>
              </a:solidFill>
              <a:effectLst>
                <a:outerShdw blurRad="50800" dist="38100" dir="2700000" algn="tl" rotWithShape="0">
                  <a:prstClr val="black">
                    <a:alpha val="40000"/>
                  </a:prstClr>
                </a:outerShdw>
              </a:effectLst>
            </a:rPr>
          </a:br>
          <a:r>
            <a:rPr lang="en-US" sz="2900" b="0" kern="1200" dirty="0" smtClean="0">
              <a:solidFill>
                <a:schemeClr val="accent1">
                  <a:lumMod val="50000"/>
                </a:schemeClr>
              </a:solidFill>
              <a:effectLst>
                <a:outerShdw blurRad="50800" dist="38100" dir="2700000" algn="tl" rotWithShape="0">
                  <a:prstClr val="black">
                    <a:alpha val="40000"/>
                  </a:prstClr>
                </a:outerShdw>
              </a:effectLst>
            </a:rPr>
            <a:t>$25.00</a:t>
          </a:r>
          <a:endParaRPr lang="en-US" sz="2900" b="0" kern="1200" dirty="0">
            <a:solidFill>
              <a:schemeClr val="accent1">
                <a:lumMod val="50000"/>
              </a:schemeClr>
            </a:solidFill>
            <a:effectLst>
              <a:outerShdw blurRad="50800" dist="38100" dir="2700000" algn="tl" rotWithShape="0">
                <a:prstClr val="black">
                  <a:alpha val="40000"/>
                </a:prstClr>
              </a:outerShdw>
            </a:effectLst>
          </a:endParaRPr>
        </a:p>
      </dsp:txBody>
      <dsp:txXfrm>
        <a:off x="4039267" y="9162123"/>
        <a:ext cx="2872519" cy="1783543"/>
      </dsp:txXfrm>
    </dsp:sp>
    <dsp:sp modelId="{566569CA-60A1-4C4F-AFF2-CDDC04B70585}">
      <dsp:nvSpPr>
        <dsp:cNvPr id="0" name=""/>
        <dsp:cNvSpPr/>
      </dsp:nvSpPr>
      <dsp:spPr>
        <a:xfrm>
          <a:off x="9122025" y="6029487"/>
          <a:ext cx="2983497" cy="1894521"/>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FB2451F5-A243-E544-B2E0-CD798B574787}">
      <dsp:nvSpPr>
        <dsp:cNvPr id="0" name=""/>
        <dsp:cNvSpPr/>
      </dsp:nvSpPr>
      <dsp:spPr>
        <a:xfrm>
          <a:off x="9453524" y="6344412"/>
          <a:ext cx="2983497" cy="1894521"/>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lvl="0" algn="ctr" defTabSz="1289050">
            <a:lnSpc>
              <a:spcPct val="90000"/>
            </a:lnSpc>
            <a:spcBef>
              <a:spcPct val="0"/>
            </a:spcBef>
            <a:spcAft>
              <a:spcPct val="35000"/>
            </a:spcAft>
          </a:pPr>
          <a:r>
            <a:rPr lang="en-US" sz="2900" b="1" kern="1200" dirty="0" smtClean="0">
              <a:solidFill>
                <a:schemeClr val="accent1">
                  <a:lumMod val="50000"/>
                </a:schemeClr>
              </a:solidFill>
              <a:effectLst>
                <a:outerShdw blurRad="50800" dist="38100" dir="2700000" algn="tl" rotWithShape="0">
                  <a:prstClr val="black">
                    <a:alpha val="40000"/>
                  </a:prstClr>
                </a:outerShdw>
              </a:effectLst>
            </a:rPr>
            <a:t>Conversion Rate:</a:t>
          </a:r>
          <a:br>
            <a:rPr lang="en-US" sz="2900" b="1" kern="1200" dirty="0" smtClean="0">
              <a:solidFill>
                <a:schemeClr val="accent1">
                  <a:lumMod val="50000"/>
                </a:schemeClr>
              </a:solidFill>
              <a:effectLst>
                <a:outerShdw blurRad="50800" dist="38100" dir="2700000" algn="tl" rotWithShape="0">
                  <a:prstClr val="black">
                    <a:alpha val="40000"/>
                  </a:prstClr>
                </a:outerShdw>
              </a:effectLst>
            </a:rPr>
          </a:br>
          <a:r>
            <a:rPr lang="en-US" sz="2900" b="0" kern="1200" dirty="0" smtClean="0">
              <a:solidFill>
                <a:schemeClr val="accent1">
                  <a:lumMod val="50000"/>
                </a:schemeClr>
              </a:solidFill>
              <a:effectLst>
                <a:outerShdw blurRad="50800" dist="38100" dir="2700000" algn="tl" rotWithShape="0">
                  <a:prstClr val="black">
                    <a:alpha val="40000"/>
                  </a:prstClr>
                </a:outerShdw>
              </a:effectLst>
            </a:rPr>
            <a:t>2.00%</a:t>
          </a:r>
          <a:endParaRPr lang="en-US" sz="2900" b="0" kern="1200" dirty="0">
            <a:solidFill>
              <a:schemeClr val="accent1">
                <a:lumMod val="50000"/>
              </a:schemeClr>
            </a:solidFill>
            <a:effectLst>
              <a:outerShdw blurRad="50800" dist="38100" dir="2700000" algn="tl" rotWithShape="0">
                <a:prstClr val="black">
                  <a:alpha val="40000"/>
                </a:prstClr>
              </a:outerShdw>
            </a:effectLst>
          </a:endParaRPr>
        </a:p>
      </dsp:txBody>
      <dsp:txXfrm>
        <a:off x="9509013" y="6399901"/>
        <a:ext cx="2872519" cy="1783543"/>
      </dsp:txXfrm>
    </dsp:sp>
    <dsp:sp modelId="{D1D63DA7-35DA-2140-8AB4-BBBFE1A99F8C}">
      <dsp:nvSpPr>
        <dsp:cNvPr id="0" name=""/>
        <dsp:cNvSpPr/>
      </dsp:nvSpPr>
      <dsp:spPr>
        <a:xfrm>
          <a:off x="7298776" y="8791709"/>
          <a:ext cx="2983497" cy="1894521"/>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ADD942DA-F9AE-A54E-8F58-9123C760AA04}">
      <dsp:nvSpPr>
        <dsp:cNvPr id="0" name=""/>
        <dsp:cNvSpPr/>
      </dsp:nvSpPr>
      <dsp:spPr>
        <a:xfrm>
          <a:off x="7630276" y="9106634"/>
          <a:ext cx="2983497" cy="1894521"/>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lvl="0" algn="ctr" defTabSz="1289050">
            <a:lnSpc>
              <a:spcPct val="90000"/>
            </a:lnSpc>
            <a:spcBef>
              <a:spcPct val="0"/>
            </a:spcBef>
            <a:spcAft>
              <a:spcPct val="35000"/>
            </a:spcAft>
          </a:pPr>
          <a:r>
            <a:rPr lang="en-US" sz="2900" b="1" kern="1200" dirty="0" smtClean="0">
              <a:solidFill>
                <a:schemeClr val="accent1">
                  <a:lumMod val="50000"/>
                </a:schemeClr>
              </a:solidFill>
              <a:effectLst>
                <a:outerShdw blurRad="50800" dist="38100" dir="2700000" algn="tl" rotWithShape="0">
                  <a:prstClr val="black">
                    <a:alpha val="40000"/>
                  </a:prstClr>
                </a:outerShdw>
              </a:effectLst>
            </a:rPr>
            <a:t>Add to Cart</a:t>
          </a:r>
          <a:endParaRPr lang="en-US" sz="2900" b="1" kern="1200" dirty="0">
            <a:solidFill>
              <a:schemeClr val="accent1">
                <a:lumMod val="50000"/>
              </a:schemeClr>
            </a:solidFill>
            <a:effectLst>
              <a:outerShdw blurRad="50800" dist="38100" dir="2700000" algn="tl" rotWithShape="0">
                <a:prstClr val="black">
                  <a:alpha val="40000"/>
                </a:prstClr>
              </a:outerShdw>
            </a:effectLst>
          </a:endParaRPr>
        </a:p>
      </dsp:txBody>
      <dsp:txXfrm>
        <a:off x="7685765" y="9162123"/>
        <a:ext cx="2872519" cy="1783543"/>
      </dsp:txXfrm>
    </dsp:sp>
    <dsp:sp modelId="{B406D17C-37E4-654E-844A-37B1D1EE2181}">
      <dsp:nvSpPr>
        <dsp:cNvPr id="0" name=""/>
        <dsp:cNvSpPr/>
      </dsp:nvSpPr>
      <dsp:spPr>
        <a:xfrm>
          <a:off x="10945273" y="8791709"/>
          <a:ext cx="2983497" cy="1894521"/>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1CC27B90-AC9A-2A4F-BC62-34743178EAEA}">
      <dsp:nvSpPr>
        <dsp:cNvPr id="0" name=""/>
        <dsp:cNvSpPr/>
      </dsp:nvSpPr>
      <dsp:spPr>
        <a:xfrm>
          <a:off x="11276773" y="9106634"/>
          <a:ext cx="2983497" cy="1894521"/>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lvl="0" algn="ctr" defTabSz="1289050">
            <a:lnSpc>
              <a:spcPct val="90000"/>
            </a:lnSpc>
            <a:spcBef>
              <a:spcPct val="0"/>
            </a:spcBef>
            <a:spcAft>
              <a:spcPct val="35000"/>
            </a:spcAft>
          </a:pPr>
          <a:r>
            <a:rPr lang="en-US" sz="2900" b="1" kern="1200" dirty="0" smtClean="0">
              <a:solidFill>
                <a:schemeClr val="accent1">
                  <a:lumMod val="50000"/>
                </a:schemeClr>
              </a:solidFill>
              <a:effectLst>
                <a:outerShdw blurRad="50800" dist="38100" dir="2700000" algn="tl" rotWithShape="0">
                  <a:prstClr val="black">
                    <a:alpha val="40000"/>
                  </a:prstClr>
                </a:outerShdw>
              </a:effectLst>
            </a:rPr>
            <a:t>Cart Checkout Rate</a:t>
          </a:r>
          <a:endParaRPr lang="en-US" sz="2900" b="1" kern="1200" dirty="0">
            <a:solidFill>
              <a:schemeClr val="accent1">
                <a:lumMod val="50000"/>
              </a:schemeClr>
            </a:solidFill>
            <a:effectLst>
              <a:outerShdw blurRad="50800" dist="38100" dir="2700000" algn="tl" rotWithShape="0">
                <a:prstClr val="black">
                  <a:alpha val="40000"/>
                </a:prstClr>
              </a:outerShdw>
            </a:effectLst>
          </a:endParaRPr>
        </a:p>
      </dsp:txBody>
      <dsp:txXfrm>
        <a:off x="11332262" y="9162123"/>
        <a:ext cx="2872519" cy="1783543"/>
      </dsp:txXfrm>
    </dsp:sp>
    <dsp:sp modelId="{8AF0E105-A16A-614F-9F50-33C446FC97DD}">
      <dsp:nvSpPr>
        <dsp:cNvPr id="0" name=""/>
        <dsp:cNvSpPr/>
      </dsp:nvSpPr>
      <dsp:spPr>
        <a:xfrm>
          <a:off x="14591770" y="3267266"/>
          <a:ext cx="2983497" cy="1894521"/>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21234BA2-BC97-994E-8051-7A5DB50E6C0B}">
      <dsp:nvSpPr>
        <dsp:cNvPr id="0" name=""/>
        <dsp:cNvSpPr/>
      </dsp:nvSpPr>
      <dsp:spPr>
        <a:xfrm>
          <a:off x="14923270" y="3582191"/>
          <a:ext cx="2983497" cy="1894521"/>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lvl="0" algn="ctr" defTabSz="1289050">
            <a:lnSpc>
              <a:spcPct val="90000"/>
            </a:lnSpc>
            <a:spcBef>
              <a:spcPct val="0"/>
            </a:spcBef>
            <a:spcAft>
              <a:spcPct val="35000"/>
            </a:spcAft>
          </a:pPr>
          <a:r>
            <a:rPr lang="en-US" sz="2900" b="1" kern="1200" dirty="0" smtClean="0">
              <a:solidFill>
                <a:schemeClr val="accent1">
                  <a:lumMod val="50000"/>
                </a:schemeClr>
              </a:solidFill>
              <a:effectLst>
                <a:outerShdw blurRad="50800" dist="38100" dir="2700000" algn="tl" rotWithShape="0">
                  <a:prstClr val="black">
                    <a:alpha val="40000"/>
                  </a:prstClr>
                </a:outerShdw>
              </a:effectLst>
            </a:rPr>
            <a:t>Visitors:</a:t>
          </a:r>
          <a:br>
            <a:rPr lang="en-US" sz="2900" b="1" kern="1200" dirty="0" smtClean="0">
              <a:solidFill>
                <a:schemeClr val="accent1">
                  <a:lumMod val="50000"/>
                </a:schemeClr>
              </a:solidFill>
              <a:effectLst>
                <a:outerShdw blurRad="50800" dist="38100" dir="2700000" algn="tl" rotWithShape="0">
                  <a:prstClr val="black">
                    <a:alpha val="40000"/>
                  </a:prstClr>
                </a:outerShdw>
              </a:effectLst>
            </a:rPr>
          </a:br>
          <a:r>
            <a:rPr lang="en-US" sz="2900" b="0" kern="1200" dirty="0" smtClean="0">
              <a:solidFill>
                <a:schemeClr val="accent1">
                  <a:lumMod val="50000"/>
                </a:schemeClr>
              </a:solidFill>
              <a:effectLst>
                <a:outerShdw blurRad="50800" dist="38100" dir="2700000" algn="tl" rotWithShape="0">
                  <a:prstClr val="black">
                    <a:alpha val="40000"/>
                  </a:prstClr>
                </a:outerShdw>
              </a:effectLst>
            </a:rPr>
            <a:t>2.0m</a:t>
          </a:r>
          <a:endParaRPr lang="en-US" sz="2900" b="0" kern="1200" dirty="0">
            <a:solidFill>
              <a:schemeClr val="accent1">
                <a:lumMod val="50000"/>
              </a:schemeClr>
            </a:solidFill>
            <a:effectLst>
              <a:outerShdw blurRad="50800" dist="38100" dir="2700000" algn="tl" rotWithShape="0">
                <a:prstClr val="black">
                  <a:alpha val="40000"/>
                </a:prstClr>
              </a:outerShdw>
            </a:effectLst>
          </a:endParaRPr>
        </a:p>
      </dsp:txBody>
      <dsp:txXfrm>
        <a:off x="14978759" y="3637680"/>
        <a:ext cx="2872519" cy="1783543"/>
      </dsp:txXfrm>
    </dsp:sp>
    <dsp:sp modelId="{F00C627A-CA09-774E-B3EA-B343D1757425}">
      <dsp:nvSpPr>
        <dsp:cNvPr id="0" name=""/>
        <dsp:cNvSpPr/>
      </dsp:nvSpPr>
      <dsp:spPr>
        <a:xfrm>
          <a:off x="12768522" y="6029487"/>
          <a:ext cx="2983497" cy="1894521"/>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87D53768-DAC1-DD48-9C31-590E8B87F5E8}">
      <dsp:nvSpPr>
        <dsp:cNvPr id="0" name=""/>
        <dsp:cNvSpPr/>
      </dsp:nvSpPr>
      <dsp:spPr>
        <a:xfrm>
          <a:off x="13100022" y="6344412"/>
          <a:ext cx="2983497" cy="1894521"/>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lvl="0" algn="ctr" defTabSz="1289050">
            <a:lnSpc>
              <a:spcPct val="90000"/>
            </a:lnSpc>
            <a:spcBef>
              <a:spcPct val="0"/>
            </a:spcBef>
            <a:spcAft>
              <a:spcPct val="35000"/>
            </a:spcAft>
          </a:pPr>
          <a:r>
            <a:rPr lang="en-US" sz="2900" b="1" kern="1200" dirty="0" smtClean="0">
              <a:solidFill>
                <a:schemeClr val="accent1">
                  <a:lumMod val="50000"/>
                </a:schemeClr>
              </a:solidFill>
              <a:effectLst>
                <a:outerShdw blurRad="50800" dist="38100" dir="2700000" algn="tl" rotWithShape="0">
                  <a:prstClr val="black">
                    <a:alpha val="40000"/>
                  </a:prstClr>
                </a:outerShdw>
              </a:effectLst>
            </a:rPr>
            <a:t>User acquisition:</a:t>
          </a:r>
          <a:br>
            <a:rPr lang="en-US" sz="2900" b="1" kern="1200" dirty="0" smtClean="0">
              <a:solidFill>
                <a:schemeClr val="accent1">
                  <a:lumMod val="50000"/>
                </a:schemeClr>
              </a:solidFill>
              <a:effectLst>
                <a:outerShdw blurRad="50800" dist="38100" dir="2700000" algn="tl" rotWithShape="0">
                  <a:prstClr val="black">
                    <a:alpha val="40000"/>
                  </a:prstClr>
                </a:outerShdw>
              </a:effectLst>
            </a:rPr>
          </a:br>
          <a:r>
            <a:rPr lang="en-US" sz="2900" b="0" kern="1200" dirty="0" smtClean="0">
              <a:solidFill>
                <a:schemeClr val="accent1">
                  <a:lumMod val="50000"/>
                </a:schemeClr>
              </a:solidFill>
              <a:effectLst>
                <a:outerShdw blurRad="50800" dist="38100" dir="2700000" algn="tl" rotWithShape="0">
                  <a:prstClr val="black">
                    <a:alpha val="40000"/>
                  </a:prstClr>
                </a:outerShdw>
              </a:effectLst>
            </a:rPr>
            <a:t>1.5m</a:t>
          </a:r>
          <a:endParaRPr lang="en-US" sz="2900" b="1" kern="1200" dirty="0">
            <a:solidFill>
              <a:schemeClr val="accent1">
                <a:lumMod val="50000"/>
              </a:schemeClr>
            </a:solidFill>
            <a:effectLst>
              <a:outerShdw blurRad="50800" dist="38100" dir="2700000" algn="tl" rotWithShape="0">
                <a:prstClr val="black">
                  <a:alpha val="40000"/>
                </a:prstClr>
              </a:outerShdw>
            </a:effectLst>
          </a:endParaRPr>
        </a:p>
      </dsp:txBody>
      <dsp:txXfrm>
        <a:off x="13155511" y="6399901"/>
        <a:ext cx="2872519" cy="1783543"/>
      </dsp:txXfrm>
    </dsp:sp>
    <dsp:sp modelId="{EA772503-3539-5E48-A49C-0DC39BAFCA0C}">
      <dsp:nvSpPr>
        <dsp:cNvPr id="0" name=""/>
        <dsp:cNvSpPr/>
      </dsp:nvSpPr>
      <dsp:spPr>
        <a:xfrm>
          <a:off x="16415019" y="6029487"/>
          <a:ext cx="2983497" cy="1894521"/>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E08874E8-AAE7-6743-B9EF-1E82EF8809A9}">
      <dsp:nvSpPr>
        <dsp:cNvPr id="0" name=""/>
        <dsp:cNvSpPr/>
      </dsp:nvSpPr>
      <dsp:spPr>
        <a:xfrm>
          <a:off x="16746519" y="6344412"/>
          <a:ext cx="2983497" cy="1894521"/>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lvl="0" algn="ctr" defTabSz="1289050">
            <a:lnSpc>
              <a:spcPct val="90000"/>
            </a:lnSpc>
            <a:spcBef>
              <a:spcPct val="0"/>
            </a:spcBef>
            <a:spcAft>
              <a:spcPct val="35000"/>
            </a:spcAft>
          </a:pPr>
          <a:r>
            <a:rPr lang="en-US" sz="2900" b="1" kern="1200" dirty="0" smtClean="0">
              <a:solidFill>
                <a:schemeClr val="accent1">
                  <a:lumMod val="50000"/>
                </a:schemeClr>
              </a:solidFill>
              <a:effectLst>
                <a:outerShdw blurRad="50800" dist="38100" dir="2700000" algn="tl" rotWithShape="0">
                  <a:prstClr val="black">
                    <a:alpha val="40000"/>
                  </a:prstClr>
                </a:outerShdw>
              </a:effectLst>
            </a:rPr>
            <a:t>User retention</a:t>
          </a:r>
          <a:br>
            <a:rPr lang="en-US" sz="2900" b="1" kern="1200" dirty="0" smtClean="0">
              <a:solidFill>
                <a:schemeClr val="accent1">
                  <a:lumMod val="50000"/>
                </a:schemeClr>
              </a:solidFill>
              <a:effectLst>
                <a:outerShdw blurRad="50800" dist="38100" dir="2700000" algn="tl" rotWithShape="0">
                  <a:prstClr val="black">
                    <a:alpha val="40000"/>
                  </a:prstClr>
                </a:outerShdw>
              </a:effectLst>
            </a:rPr>
          </a:br>
          <a:r>
            <a:rPr lang="en-US" sz="2900" b="0" kern="1200" dirty="0" smtClean="0">
              <a:solidFill>
                <a:schemeClr val="accent1">
                  <a:lumMod val="50000"/>
                </a:schemeClr>
              </a:solidFill>
              <a:effectLst>
                <a:outerShdw blurRad="50800" dist="38100" dir="2700000" algn="tl" rotWithShape="0">
                  <a:prstClr val="black">
                    <a:alpha val="40000"/>
                  </a:prstClr>
                </a:outerShdw>
              </a:effectLst>
            </a:rPr>
            <a:t>33%</a:t>
          </a:r>
          <a:endParaRPr lang="en-US" sz="2900" b="0" kern="1200" dirty="0">
            <a:solidFill>
              <a:schemeClr val="accent1">
                <a:lumMod val="50000"/>
              </a:schemeClr>
            </a:solidFill>
            <a:effectLst>
              <a:outerShdw blurRad="50800" dist="38100" dir="2700000" algn="tl" rotWithShape="0">
                <a:prstClr val="black">
                  <a:alpha val="40000"/>
                </a:prstClr>
              </a:outerShdw>
            </a:effectLst>
          </a:endParaRPr>
        </a:p>
      </dsp:txBody>
      <dsp:txXfrm>
        <a:off x="16802008" y="6399901"/>
        <a:ext cx="2872519" cy="17835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ED4007-21AE-5C48-B470-C588FEA7AAED}">
      <dsp:nvSpPr>
        <dsp:cNvPr id="0" name=""/>
        <dsp:cNvSpPr/>
      </dsp:nvSpPr>
      <dsp:spPr>
        <a:xfrm>
          <a:off x="23141794" y="8328106"/>
          <a:ext cx="91440" cy="396351"/>
        </a:xfrm>
        <a:custGeom>
          <a:avLst/>
          <a:gdLst/>
          <a:ahLst/>
          <a:cxnLst/>
          <a:rect l="0" t="0" r="0" b="0"/>
          <a:pathLst>
            <a:path>
              <a:moveTo>
                <a:pt x="45720" y="0"/>
              </a:moveTo>
              <a:lnTo>
                <a:pt x="45720" y="396351"/>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BCD1C62B-21C5-0D4C-A076-6947D355084D}">
      <dsp:nvSpPr>
        <dsp:cNvPr id="0" name=""/>
        <dsp:cNvSpPr/>
      </dsp:nvSpPr>
      <dsp:spPr>
        <a:xfrm>
          <a:off x="19856188" y="7066367"/>
          <a:ext cx="3331325" cy="396351"/>
        </a:xfrm>
        <a:custGeom>
          <a:avLst/>
          <a:gdLst/>
          <a:ahLst/>
          <a:cxnLst/>
          <a:rect l="0" t="0" r="0" b="0"/>
          <a:pathLst>
            <a:path>
              <a:moveTo>
                <a:pt x="0" y="0"/>
              </a:moveTo>
              <a:lnTo>
                <a:pt x="0" y="270102"/>
              </a:lnTo>
              <a:lnTo>
                <a:pt x="3331325" y="270102"/>
              </a:lnTo>
              <a:lnTo>
                <a:pt x="3331325" y="396351"/>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64F93824-4A34-3240-9D90-E8910E73B756}">
      <dsp:nvSpPr>
        <dsp:cNvPr id="0" name=""/>
        <dsp:cNvSpPr/>
      </dsp:nvSpPr>
      <dsp:spPr>
        <a:xfrm>
          <a:off x="19856188" y="7066367"/>
          <a:ext cx="1665662" cy="396351"/>
        </a:xfrm>
        <a:custGeom>
          <a:avLst/>
          <a:gdLst/>
          <a:ahLst/>
          <a:cxnLst/>
          <a:rect l="0" t="0" r="0" b="0"/>
          <a:pathLst>
            <a:path>
              <a:moveTo>
                <a:pt x="0" y="0"/>
              </a:moveTo>
              <a:lnTo>
                <a:pt x="0" y="270102"/>
              </a:lnTo>
              <a:lnTo>
                <a:pt x="1665662" y="270102"/>
              </a:lnTo>
              <a:lnTo>
                <a:pt x="1665662" y="396351"/>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3DC2442D-297D-B343-883C-653E5296DA9D}">
      <dsp:nvSpPr>
        <dsp:cNvPr id="0" name=""/>
        <dsp:cNvSpPr/>
      </dsp:nvSpPr>
      <dsp:spPr>
        <a:xfrm>
          <a:off x="19810468" y="7066367"/>
          <a:ext cx="91440" cy="396351"/>
        </a:xfrm>
        <a:custGeom>
          <a:avLst/>
          <a:gdLst/>
          <a:ahLst/>
          <a:cxnLst/>
          <a:rect l="0" t="0" r="0" b="0"/>
          <a:pathLst>
            <a:path>
              <a:moveTo>
                <a:pt x="45720" y="0"/>
              </a:moveTo>
              <a:lnTo>
                <a:pt x="45720" y="396351"/>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E2BD35FA-F3FE-8846-8FBC-0284DCAB08FA}">
      <dsp:nvSpPr>
        <dsp:cNvPr id="0" name=""/>
        <dsp:cNvSpPr/>
      </dsp:nvSpPr>
      <dsp:spPr>
        <a:xfrm>
          <a:off x="18190526" y="7066367"/>
          <a:ext cx="1665662" cy="396351"/>
        </a:xfrm>
        <a:custGeom>
          <a:avLst/>
          <a:gdLst/>
          <a:ahLst/>
          <a:cxnLst/>
          <a:rect l="0" t="0" r="0" b="0"/>
          <a:pathLst>
            <a:path>
              <a:moveTo>
                <a:pt x="1665662" y="0"/>
              </a:moveTo>
              <a:lnTo>
                <a:pt x="1665662" y="270102"/>
              </a:lnTo>
              <a:lnTo>
                <a:pt x="0" y="270102"/>
              </a:lnTo>
              <a:lnTo>
                <a:pt x="0" y="396351"/>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7C861E8B-1F8D-B142-9DE6-CC9C61B2BF95}">
      <dsp:nvSpPr>
        <dsp:cNvPr id="0" name=""/>
        <dsp:cNvSpPr/>
      </dsp:nvSpPr>
      <dsp:spPr>
        <a:xfrm>
          <a:off x="16524863" y="7066367"/>
          <a:ext cx="3331325" cy="396351"/>
        </a:xfrm>
        <a:custGeom>
          <a:avLst/>
          <a:gdLst/>
          <a:ahLst/>
          <a:cxnLst/>
          <a:rect l="0" t="0" r="0" b="0"/>
          <a:pathLst>
            <a:path>
              <a:moveTo>
                <a:pt x="3331325" y="0"/>
              </a:moveTo>
              <a:lnTo>
                <a:pt x="3331325" y="270102"/>
              </a:lnTo>
              <a:lnTo>
                <a:pt x="0" y="270102"/>
              </a:lnTo>
              <a:lnTo>
                <a:pt x="0" y="396351"/>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91C900C9-348A-3E45-87ED-456D30D10D7D}">
      <dsp:nvSpPr>
        <dsp:cNvPr id="0" name=""/>
        <dsp:cNvSpPr/>
      </dsp:nvSpPr>
      <dsp:spPr>
        <a:xfrm>
          <a:off x="19023357" y="5804627"/>
          <a:ext cx="832831" cy="396351"/>
        </a:xfrm>
        <a:custGeom>
          <a:avLst/>
          <a:gdLst/>
          <a:ahLst/>
          <a:cxnLst/>
          <a:rect l="0" t="0" r="0" b="0"/>
          <a:pathLst>
            <a:path>
              <a:moveTo>
                <a:pt x="0" y="0"/>
              </a:moveTo>
              <a:lnTo>
                <a:pt x="0" y="270102"/>
              </a:lnTo>
              <a:lnTo>
                <a:pt x="832831" y="270102"/>
              </a:lnTo>
              <a:lnTo>
                <a:pt x="832831" y="396351"/>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3A5658C4-FA78-F740-BBDD-C38C285609DF}">
      <dsp:nvSpPr>
        <dsp:cNvPr id="0" name=""/>
        <dsp:cNvSpPr/>
      </dsp:nvSpPr>
      <dsp:spPr>
        <a:xfrm>
          <a:off x="18190526" y="5804627"/>
          <a:ext cx="832831" cy="396351"/>
        </a:xfrm>
        <a:custGeom>
          <a:avLst/>
          <a:gdLst/>
          <a:ahLst/>
          <a:cxnLst/>
          <a:rect l="0" t="0" r="0" b="0"/>
          <a:pathLst>
            <a:path>
              <a:moveTo>
                <a:pt x="832831" y="0"/>
              </a:moveTo>
              <a:lnTo>
                <a:pt x="832831" y="270102"/>
              </a:lnTo>
              <a:lnTo>
                <a:pt x="0" y="270102"/>
              </a:lnTo>
              <a:lnTo>
                <a:pt x="0" y="396351"/>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1A996277-C9DB-1A49-9160-C400C5DD19DF}">
      <dsp:nvSpPr>
        <dsp:cNvPr id="0" name=""/>
        <dsp:cNvSpPr/>
      </dsp:nvSpPr>
      <dsp:spPr>
        <a:xfrm>
          <a:off x="14442785" y="4542888"/>
          <a:ext cx="4580572" cy="396351"/>
        </a:xfrm>
        <a:custGeom>
          <a:avLst/>
          <a:gdLst/>
          <a:ahLst/>
          <a:cxnLst/>
          <a:rect l="0" t="0" r="0" b="0"/>
          <a:pathLst>
            <a:path>
              <a:moveTo>
                <a:pt x="0" y="0"/>
              </a:moveTo>
              <a:lnTo>
                <a:pt x="0" y="270102"/>
              </a:lnTo>
              <a:lnTo>
                <a:pt x="4580572" y="270102"/>
              </a:lnTo>
              <a:lnTo>
                <a:pt x="4580572" y="396351"/>
              </a:lnTo>
            </a:path>
          </a:pathLst>
        </a:custGeom>
        <a:noFill/>
        <a:ln w="2540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80C32E74-2028-5A45-B638-2DE55690566F}">
      <dsp:nvSpPr>
        <dsp:cNvPr id="0" name=""/>
        <dsp:cNvSpPr/>
      </dsp:nvSpPr>
      <dsp:spPr>
        <a:xfrm>
          <a:off x="13193538" y="7066367"/>
          <a:ext cx="1665662" cy="396351"/>
        </a:xfrm>
        <a:custGeom>
          <a:avLst/>
          <a:gdLst/>
          <a:ahLst/>
          <a:cxnLst/>
          <a:rect l="0" t="0" r="0" b="0"/>
          <a:pathLst>
            <a:path>
              <a:moveTo>
                <a:pt x="0" y="0"/>
              </a:moveTo>
              <a:lnTo>
                <a:pt x="0" y="270102"/>
              </a:lnTo>
              <a:lnTo>
                <a:pt x="1665662" y="270102"/>
              </a:lnTo>
              <a:lnTo>
                <a:pt x="1665662" y="396351"/>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A5F9AC86-AECD-F54F-A9C2-FEB40BA7723B}">
      <dsp:nvSpPr>
        <dsp:cNvPr id="0" name=""/>
        <dsp:cNvSpPr/>
      </dsp:nvSpPr>
      <dsp:spPr>
        <a:xfrm>
          <a:off x="13147818" y="7066367"/>
          <a:ext cx="91440" cy="396351"/>
        </a:xfrm>
        <a:custGeom>
          <a:avLst/>
          <a:gdLst/>
          <a:ahLst/>
          <a:cxnLst/>
          <a:rect l="0" t="0" r="0" b="0"/>
          <a:pathLst>
            <a:path>
              <a:moveTo>
                <a:pt x="45720" y="0"/>
              </a:moveTo>
              <a:lnTo>
                <a:pt x="45720" y="396351"/>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C45442A0-B0E4-504D-8187-E1C01B448AC8}">
      <dsp:nvSpPr>
        <dsp:cNvPr id="0" name=""/>
        <dsp:cNvSpPr/>
      </dsp:nvSpPr>
      <dsp:spPr>
        <a:xfrm>
          <a:off x="11527875" y="7066367"/>
          <a:ext cx="1665662" cy="396351"/>
        </a:xfrm>
        <a:custGeom>
          <a:avLst/>
          <a:gdLst/>
          <a:ahLst/>
          <a:cxnLst/>
          <a:rect l="0" t="0" r="0" b="0"/>
          <a:pathLst>
            <a:path>
              <a:moveTo>
                <a:pt x="1665662" y="0"/>
              </a:moveTo>
              <a:lnTo>
                <a:pt x="1665662" y="270102"/>
              </a:lnTo>
              <a:lnTo>
                <a:pt x="0" y="270102"/>
              </a:lnTo>
              <a:lnTo>
                <a:pt x="0" y="396351"/>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B561EAB9-9C90-814A-B65E-A9C9AAD599AD}">
      <dsp:nvSpPr>
        <dsp:cNvPr id="0" name=""/>
        <dsp:cNvSpPr/>
      </dsp:nvSpPr>
      <dsp:spPr>
        <a:xfrm>
          <a:off x="9862213" y="5804627"/>
          <a:ext cx="3331325" cy="396351"/>
        </a:xfrm>
        <a:custGeom>
          <a:avLst/>
          <a:gdLst/>
          <a:ahLst/>
          <a:cxnLst/>
          <a:rect l="0" t="0" r="0" b="0"/>
          <a:pathLst>
            <a:path>
              <a:moveTo>
                <a:pt x="0" y="0"/>
              </a:moveTo>
              <a:lnTo>
                <a:pt x="0" y="270102"/>
              </a:lnTo>
              <a:lnTo>
                <a:pt x="3331325" y="270102"/>
              </a:lnTo>
              <a:lnTo>
                <a:pt x="3331325" y="396351"/>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015CA630-71EE-994E-BDF9-B4E5D34D9F42}">
      <dsp:nvSpPr>
        <dsp:cNvPr id="0" name=""/>
        <dsp:cNvSpPr/>
      </dsp:nvSpPr>
      <dsp:spPr>
        <a:xfrm>
          <a:off x="9862213" y="8328106"/>
          <a:ext cx="2498493" cy="396351"/>
        </a:xfrm>
        <a:custGeom>
          <a:avLst/>
          <a:gdLst/>
          <a:ahLst/>
          <a:cxnLst/>
          <a:rect l="0" t="0" r="0" b="0"/>
          <a:pathLst>
            <a:path>
              <a:moveTo>
                <a:pt x="0" y="0"/>
              </a:moveTo>
              <a:lnTo>
                <a:pt x="0" y="270102"/>
              </a:lnTo>
              <a:lnTo>
                <a:pt x="2498493" y="270102"/>
              </a:lnTo>
              <a:lnTo>
                <a:pt x="2498493" y="396351"/>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A188263D-53C1-8A4E-BDCE-77BD616F55DC}">
      <dsp:nvSpPr>
        <dsp:cNvPr id="0" name=""/>
        <dsp:cNvSpPr/>
      </dsp:nvSpPr>
      <dsp:spPr>
        <a:xfrm>
          <a:off x="9862213" y="8328106"/>
          <a:ext cx="832831" cy="396351"/>
        </a:xfrm>
        <a:custGeom>
          <a:avLst/>
          <a:gdLst/>
          <a:ahLst/>
          <a:cxnLst/>
          <a:rect l="0" t="0" r="0" b="0"/>
          <a:pathLst>
            <a:path>
              <a:moveTo>
                <a:pt x="0" y="0"/>
              </a:moveTo>
              <a:lnTo>
                <a:pt x="0" y="270102"/>
              </a:lnTo>
              <a:lnTo>
                <a:pt x="832831" y="270102"/>
              </a:lnTo>
              <a:lnTo>
                <a:pt x="832831" y="396351"/>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9047588-BF48-A74D-A6B6-F0866F82C690}">
      <dsp:nvSpPr>
        <dsp:cNvPr id="0" name=""/>
        <dsp:cNvSpPr/>
      </dsp:nvSpPr>
      <dsp:spPr>
        <a:xfrm>
          <a:off x="9029382" y="8328106"/>
          <a:ext cx="832831" cy="396351"/>
        </a:xfrm>
        <a:custGeom>
          <a:avLst/>
          <a:gdLst/>
          <a:ahLst/>
          <a:cxnLst/>
          <a:rect l="0" t="0" r="0" b="0"/>
          <a:pathLst>
            <a:path>
              <a:moveTo>
                <a:pt x="832831" y="0"/>
              </a:moveTo>
              <a:lnTo>
                <a:pt x="832831" y="270102"/>
              </a:lnTo>
              <a:lnTo>
                <a:pt x="0" y="270102"/>
              </a:lnTo>
              <a:lnTo>
                <a:pt x="0" y="396351"/>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38FF51C3-4FAA-C944-9907-7C794D15F020}">
      <dsp:nvSpPr>
        <dsp:cNvPr id="0" name=""/>
        <dsp:cNvSpPr/>
      </dsp:nvSpPr>
      <dsp:spPr>
        <a:xfrm>
          <a:off x="7363719" y="8328106"/>
          <a:ext cx="2498493" cy="396351"/>
        </a:xfrm>
        <a:custGeom>
          <a:avLst/>
          <a:gdLst/>
          <a:ahLst/>
          <a:cxnLst/>
          <a:rect l="0" t="0" r="0" b="0"/>
          <a:pathLst>
            <a:path>
              <a:moveTo>
                <a:pt x="2498493" y="0"/>
              </a:moveTo>
              <a:lnTo>
                <a:pt x="2498493" y="270102"/>
              </a:lnTo>
              <a:lnTo>
                <a:pt x="0" y="270102"/>
              </a:lnTo>
              <a:lnTo>
                <a:pt x="0" y="396351"/>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4D22C701-D4EA-6541-9C37-8381FFEAD667}">
      <dsp:nvSpPr>
        <dsp:cNvPr id="0" name=""/>
        <dsp:cNvSpPr/>
      </dsp:nvSpPr>
      <dsp:spPr>
        <a:xfrm>
          <a:off x="6530888" y="7066367"/>
          <a:ext cx="3331325" cy="396351"/>
        </a:xfrm>
        <a:custGeom>
          <a:avLst/>
          <a:gdLst/>
          <a:ahLst/>
          <a:cxnLst/>
          <a:rect l="0" t="0" r="0" b="0"/>
          <a:pathLst>
            <a:path>
              <a:moveTo>
                <a:pt x="0" y="0"/>
              </a:moveTo>
              <a:lnTo>
                <a:pt x="0" y="270102"/>
              </a:lnTo>
              <a:lnTo>
                <a:pt x="3331325" y="270102"/>
              </a:lnTo>
              <a:lnTo>
                <a:pt x="3331325" y="396351"/>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267CE148-E222-F24A-9DE9-377346E5E093}">
      <dsp:nvSpPr>
        <dsp:cNvPr id="0" name=""/>
        <dsp:cNvSpPr/>
      </dsp:nvSpPr>
      <dsp:spPr>
        <a:xfrm>
          <a:off x="3199562" y="8328106"/>
          <a:ext cx="2498493" cy="396351"/>
        </a:xfrm>
        <a:custGeom>
          <a:avLst/>
          <a:gdLst/>
          <a:ahLst/>
          <a:cxnLst/>
          <a:rect l="0" t="0" r="0" b="0"/>
          <a:pathLst>
            <a:path>
              <a:moveTo>
                <a:pt x="0" y="0"/>
              </a:moveTo>
              <a:lnTo>
                <a:pt x="0" y="270102"/>
              </a:lnTo>
              <a:lnTo>
                <a:pt x="2498493" y="270102"/>
              </a:lnTo>
              <a:lnTo>
                <a:pt x="2498493" y="396351"/>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0F1CC619-AD04-A34C-AF51-5E656478B12B}">
      <dsp:nvSpPr>
        <dsp:cNvPr id="0" name=""/>
        <dsp:cNvSpPr/>
      </dsp:nvSpPr>
      <dsp:spPr>
        <a:xfrm>
          <a:off x="3199562" y="8328106"/>
          <a:ext cx="832831" cy="396351"/>
        </a:xfrm>
        <a:custGeom>
          <a:avLst/>
          <a:gdLst/>
          <a:ahLst/>
          <a:cxnLst/>
          <a:rect l="0" t="0" r="0" b="0"/>
          <a:pathLst>
            <a:path>
              <a:moveTo>
                <a:pt x="0" y="0"/>
              </a:moveTo>
              <a:lnTo>
                <a:pt x="0" y="270102"/>
              </a:lnTo>
              <a:lnTo>
                <a:pt x="832831" y="270102"/>
              </a:lnTo>
              <a:lnTo>
                <a:pt x="832831" y="396351"/>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EDDED70B-DBE4-8A41-8326-FDC547C20B2B}">
      <dsp:nvSpPr>
        <dsp:cNvPr id="0" name=""/>
        <dsp:cNvSpPr/>
      </dsp:nvSpPr>
      <dsp:spPr>
        <a:xfrm>
          <a:off x="2366731" y="8328106"/>
          <a:ext cx="832831" cy="396351"/>
        </a:xfrm>
        <a:custGeom>
          <a:avLst/>
          <a:gdLst/>
          <a:ahLst/>
          <a:cxnLst/>
          <a:rect l="0" t="0" r="0" b="0"/>
          <a:pathLst>
            <a:path>
              <a:moveTo>
                <a:pt x="832831" y="0"/>
              </a:moveTo>
              <a:lnTo>
                <a:pt x="832831" y="270102"/>
              </a:lnTo>
              <a:lnTo>
                <a:pt x="0" y="270102"/>
              </a:lnTo>
              <a:lnTo>
                <a:pt x="0" y="396351"/>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2CD2BB25-82FE-0343-8126-F2533F318E2A}">
      <dsp:nvSpPr>
        <dsp:cNvPr id="0" name=""/>
        <dsp:cNvSpPr/>
      </dsp:nvSpPr>
      <dsp:spPr>
        <a:xfrm>
          <a:off x="701069" y="8328106"/>
          <a:ext cx="2498493" cy="396351"/>
        </a:xfrm>
        <a:custGeom>
          <a:avLst/>
          <a:gdLst/>
          <a:ahLst/>
          <a:cxnLst/>
          <a:rect l="0" t="0" r="0" b="0"/>
          <a:pathLst>
            <a:path>
              <a:moveTo>
                <a:pt x="2498493" y="0"/>
              </a:moveTo>
              <a:lnTo>
                <a:pt x="2498493" y="270102"/>
              </a:lnTo>
              <a:lnTo>
                <a:pt x="0" y="270102"/>
              </a:lnTo>
              <a:lnTo>
                <a:pt x="0" y="396351"/>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10C570C9-8ACD-FD40-85F9-8196E4B7D136}">
      <dsp:nvSpPr>
        <dsp:cNvPr id="0" name=""/>
        <dsp:cNvSpPr/>
      </dsp:nvSpPr>
      <dsp:spPr>
        <a:xfrm>
          <a:off x="3199562" y="7066367"/>
          <a:ext cx="3331325" cy="396351"/>
        </a:xfrm>
        <a:custGeom>
          <a:avLst/>
          <a:gdLst/>
          <a:ahLst/>
          <a:cxnLst/>
          <a:rect l="0" t="0" r="0" b="0"/>
          <a:pathLst>
            <a:path>
              <a:moveTo>
                <a:pt x="3331325" y="0"/>
              </a:moveTo>
              <a:lnTo>
                <a:pt x="3331325" y="270102"/>
              </a:lnTo>
              <a:lnTo>
                <a:pt x="0" y="270102"/>
              </a:lnTo>
              <a:lnTo>
                <a:pt x="0" y="396351"/>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757CED1-F6CC-7A43-88EF-D40EB895CD32}">
      <dsp:nvSpPr>
        <dsp:cNvPr id="0" name=""/>
        <dsp:cNvSpPr/>
      </dsp:nvSpPr>
      <dsp:spPr>
        <a:xfrm>
          <a:off x="6530888" y="5804627"/>
          <a:ext cx="3331325" cy="396351"/>
        </a:xfrm>
        <a:custGeom>
          <a:avLst/>
          <a:gdLst/>
          <a:ahLst/>
          <a:cxnLst/>
          <a:rect l="0" t="0" r="0" b="0"/>
          <a:pathLst>
            <a:path>
              <a:moveTo>
                <a:pt x="3331325" y="0"/>
              </a:moveTo>
              <a:lnTo>
                <a:pt x="3331325" y="270102"/>
              </a:lnTo>
              <a:lnTo>
                <a:pt x="0" y="270102"/>
              </a:lnTo>
              <a:lnTo>
                <a:pt x="0" y="396351"/>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1B1E2F4F-56DD-C349-8A5B-11E3EE359C78}">
      <dsp:nvSpPr>
        <dsp:cNvPr id="0" name=""/>
        <dsp:cNvSpPr/>
      </dsp:nvSpPr>
      <dsp:spPr>
        <a:xfrm>
          <a:off x="9862213" y="4542888"/>
          <a:ext cx="4580572" cy="396351"/>
        </a:xfrm>
        <a:custGeom>
          <a:avLst/>
          <a:gdLst/>
          <a:ahLst/>
          <a:cxnLst/>
          <a:rect l="0" t="0" r="0" b="0"/>
          <a:pathLst>
            <a:path>
              <a:moveTo>
                <a:pt x="4580572" y="0"/>
              </a:moveTo>
              <a:lnTo>
                <a:pt x="4580572" y="270102"/>
              </a:lnTo>
              <a:lnTo>
                <a:pt x="0" y="270102"/>
              </a:lnTo>
              <a:lnTo>
                <a:pt x="0" y="396351"/>
              </a:lnTo>
            </a:path>
          </a:pathLst>
        </a:custGeom>
        <a:noFill/>
        <a:ln w="2540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B583EF7D-CB8E-AF47-A04A-538F36D040F1}">
      <dsp:nvSpPr>
        <dsp:cNvPr id="0" name=""/>
        <dsp:cNvSpPr/>
      </dsp:nvSpPr>
      <dsp:spPr>
        <a:xfrm>
          <a:off x="13761378" y="3677501"/>
          <a:ext cx="1362814" cy="865387"/>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048F2AA8-3106-1549-A86D-816408887124}">
      <dsp:nvSpPr>
        <dsp:cNvPr id="0" name=""/>
        <dsp:cNvSpPr/>
      </dsp:nvSpPr>
      <dsp:spPr>
        <a:xfrm>
          <a:off x="13912801" y="3821353"/>
          <a:ext cx="1362814" cy="865387"/>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solidFill>
                <a:schemeClr val="accent1">
                  <a:lumMod val="50000"/>
                </a:schemeClr>
              </a:solidFill>
              <a:effectLst>
                <a:outerShdw blurRad="50800" dist="38100" dir="2700000" algn="tl" rotWithShape="0">
                  <a:prstClr val="black">
                    <a:alpha val="40000"/>
                  </a:prstClr>
                </a:outerShdw>
              </a:effectLst>
            </a:rPr>
            <a:t>Profit</a:t>
          </a:r>
          <a:endParaRPr lang="en-US" sz="1200" b="1" kern="1200" dirty="0">
            <a:solidFill>
              <a:schemeClr val="accent1">
                <a:lumMod val="50000"/>
              </a:schemeClr>
            </a:solidFill>
            <a:effectLst>
              <a:outerShdw blurRad="50800" dist="38100" dir="2700000" algn="tl" rotWithShape="0">
                <a:prstClr val="black">
                  <a:alpha val="40000"/>
                </a:prstClr>
              </a:outerShdw>
            </a:effectLst>
          </a:endParaRPr>
        </a:p>
      </dsp:txBody>
      <dsp:txXfrm>
        <a:off x="13938147" y="3846699"/>
        <a:ext cx="1312122" cy="814695"/>
      </dsp:txXfrm>
    </dsp:sp>
    <dsp:sp modelId="{2D31CE3E-001E-F044-81B7-A349813E6423}">
      <dsp:nvSpPr>
        <dsp:cNvPr id="0" name=""/>
        <dsp:cNvSpPr/>
      </dsp:nvSpPr>
      <dsp:spPr>
        <a:xfrm>
          <a:off x="9180805" y="4939240"/>
          <a:ext cx="1362814" cy="865387"/>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B170A95A-B3C2-A143-BD7C-DB6F30C319BF}">
      <dsp:nvSpPr>
        <dsp:cNvPr id="0" name=""/>
        <dsp:cNvSpPr/>
      </dsp:nvSpPr>
      <dsp:spPr>
        <a:xfrm>
          <a:off x="9332229" y="5083093"/>
          <a:ext cx="1362814" cy="865387"/>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solidFill>
                <a:schemeClr val="accent1">
                  <a:lumMod val="50000"/>
                </a:schemeClr>
              </a:solidFill>
              <a:effectLst>
                <a:outerShdw blurRad="50800" dist="38100" dir="2700000" algn="tl" rotWithShape="0">
                  <a:prstClr val="black">
                    <a:alpha val="40000"/>
                  </a:prstClr>
                </a:outerShdw>
              </a:effectLst>
            </a:rPr>
            <a:t>Revenue</a:t>
          </a:r>
          <a:endParaRPr lang="en-US" sz="1200" b="1" kern="1200" dirty="0">
            <a:solidFill>
              <a:schemeClr val="accent1">
                <a:lumMod val="50000"/>
              </a:schemeClr>
            </a:solidFill>
            <a:effectLst>
              <a:outerShdw blurRad="50800" dist="38100" dir="2700000" algn="tl" rotWithShape="0">
                <a:prstClr val="black">
                  <a:alpha val="40000"/>
                </a:prstClr>
              </a:outerShdw>
            </a:effectLst>
          </a:endParaRPr>
        </a:p>
      </dsp:txBody>
      <dsp:txXfrm>
        <a:off x="9357575" y="5108439"/>
        <a:ext cx="1312122" cy="814695"/>
      </dsp:txXfrm>
    </dsp:sp>
    <dsp:sp modelId="{E7F73C9E-3874-2B41-8A1A-D32778D08E65}">
      <dsp:nvSpPr>
        <dsp:cNvPr id="0" name=""/>
        <dsp:cNvSpPr/>
      </dsp:nvSpPr>
      <dsp:spPr>
        <a:xfrm>
          <a:off x="5849480" y="6200979"/>
          <a:ext cx="1362814" cy="865387"/>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9F5F831E-B5E7-1540-AC73-26C91ABB260F}">
      <dsp:nvSpPr>
        <dsp:cNvPr id="0" name=""/>
        <dsp:cNvSpPr/>
      </dsp:nvSpPr>
      <dsp:spPr>
        <a:xfrm>
          <a:off x="6000904" y="6344832"/>
          <a:ext cx="1362814" cy="865387"/>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solidFill>
                <a:schemeClr val="accent1">
                  <a:lumMod val="50000"/>
                </a:schemeClr>
              </a:solidFill>
              <a:effectLst>
                <a:outerShdw blurRad="50800" dist="38100" dir="2700000" algn="tl" rotWithShape="0">
                  <a:prstClr val="black">
                    <a:alpha val="40000"/>
                  </a:prstClr>
                </a:outerShdw>
              </a:effectLst>
            </a:rPr>
            <a:t>Revenue Per Customer</a:t>
          </a:r>
          <a:endParaRPr lang="en-US" sz="1200" b="1" kern="1200" dirty="0">
            <a:solidFill>
              <a:schemeClr val="accent1">
                <a:lumMod val="50000"/>
              </a:schemeClr>
            </a:solidFill>
            <a:effectLst>
              <a:outerShdw blurRad="50800" dist="38100" dir="2700000" algn="tl" rotWithShape="0">
                <a:prstClr val="black">
                  <a:alpha val="40000"/>
                </a:prstClr>
              </a:outerShdw>
            </a:effectLst>
          </a:endParaRPr>
        </a:p>
      </dsp:txBody>
      <dsp:txXfrm>
        <a:off x="6026250" y="6370178"/>
        <a:ext cx="1312122" cy="814695"/>
      </dsp:txXfrm>
    </dsp:sp>
    <dsp:sp modelId="{9CB0F569-6859-C148-ACE2-C4CF1EA51EC2}">
      <dsp:nvSpPr>
        <dsp:cNvPr id="0" name=""/>
        <dsp:cNvSpPr/>
      </dsp:nvSpPr>
      <dsp:spPr>
        <a:xfrm>
          <a:off x="2518155" y="7462719"/>
          <a:ext cx="1362814" cy="865387"/>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FD165631-DE07-8A4B-A42E-FC4AF22097E1}">
      <dsp:nvSpPr>
        <dsp:cNvPr id="0" name=""/>
        <dsp:cNvSpPr/>
      </dsp:nvSpPr>
      <dsp:spPr>
        <a:xfrm>
          <a:off x="2669579" y="7606572"/>
          <a:ext cx="1362814" cy="865387"/>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solidFill>
                <a:schemeClr val="accent1">
                  <a:lumMod val="50000"/>
                </a:schemeClr>
              </a:solidFill>
              <a:effectLst>
                <a:outerShdw blurRad="50800" dist="38100" dir="2700000" algn="tl" rotWithShape="0">
                  <a:prstClr val="black">
                    <a:alpha val="40000"/>
                  </a:prstClr>
                </a:outerShdw>
              </a:effectLst>
            </a:rPr>
            <a:t>Online Revenue Attribution</a:t>
          </a:r>
          <a:endParaRPr lang="en-US" sz="1200" b="1" kern="1200" dirty="0">
            <a:solidFill>
              <a:schemeClr val="accent1">
                <a:lumMod val="50000"/>
              </a:schemeClr>
            </a:solidFill>
            <a:effectLst>
              <a:outerShdw blurRad="50800" dist="38100" dir="2700000" algn="tl" rotWithShape="0">
                <a:prstClr val="black">
                  <a:alpha val="40000"/>
                </a:prstClr>
              </a:outerShdw>
            </a:effectLst>
          </a:endParaRPr>
        </a:p>
      </dsp:txBody>
      <dsp:txXfrm>
        <a:off x="2694925" y="7631918"/>
        <a:ext cx="1312122" cy="814695"/>
      </dsp:txXfrm>
    </dsp:sp>
    <dsp:sp modelId="{BB622678-A6AE-9F45-AC6F-199CE2EF8B32}">
      <dsp:nvSpPr>
        <dsp:cNvPr id="0" name=""/>
        <dsp:cNvSpPr/>
      </dsp:nvSpPr>
      <dsp:spPr>
        <a:xfrm>
          <a:off x="19661" y="8724458"/>
          <a:ext cx="1362814" cy="865387"/>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C93E5572-8301-2E45-90B4-2BEF3E8B20E5}">
      <dsp:nvSpPr>
        <dsp:cNvPr id="0" name=""/>
        <dsp:cNvSpPr/>
      </dsp:nvSpPr>
      <dsp:spPr>
        <a:xfrm>
          <a:off x="171085" y="8868311"/>
          <a:ext cx="1362814" cy="865387"/>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solidFill>
                <a:schemeClr val="accent1">
                  <a:lumMod val="50000"/>
                </a:schemeClr>
              </a:solidFill>
              <a:effectLst>
                <a:outerShdw blurRad="50800" dist="38100" dir="2700000" algn="tl" rotWithShape="0">
                  <a:prstClr val="black">
                    <a:alpha val="40000"/>
                  </a:prstClr>
                </a:outerShdw>
              </a:effectLst>
            </a:rPr>
            <a:t>Average Order Value</a:t>
          </a:r>
          <a:endParaRPr lang="en-US" sz="1200" b="1" kern="1200" dirty="0">
            <a:solidFill>
              <a:schemeClr val="accent1">
                <a:lumMod val="50000"/>
              </a:schemeClr>
            </a:solidFill>
            <a:effectLst>
              <a:outerShdw blurRad="50800" dist="38100" dir="2700000" algn="tl" rotWithShape="0">
                <a:prstClr val="black">
                  <a:alpha val="40000"/>
                </a:prstClr>
              </a:outerShdw>
            </a:effectLst>
          </a:endParaRPr>
        </a:p>
      </dsp:txBody>
      <dsp:txXfrm>
        <a:off x="196431" y="8893657"/>
        <a:ext cx="1312122" cy="814695"/>
      </dsp:txXfrm>
    </dsp:sp>
    <dsp:sp modelId="{30B81E03-BAF1-F64E-A8B2-89717A9A4551}">
      <dsp:nvSpPr>
        <dsp:cNvPr id="0" name=""/>
        <dsp:cNvSpPr/>
      </dsp:nvSpPr>
      <dsp:spPr>
        <a:xfrm>
          <a:off x="1685324" y="8724458"/>
          <a:ext cx="1362814" cy="865387"/>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50165507-CC5B-7449-86A2-C8E800C3FC5E}">
      <dsp:nvSpPr>
        <dsp:cNvPr id="0" name=""/>
        <dsp:cNvSpPr/>
      </dsp:nvSpPr>
      <dsp:spPr>
        <a:xfrm>
          <a:off x="1836748" y="8868311"/>
          <a:ext cx="1362814" cy="865387"/>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solidFill>
                <a:schemeClr val="accent1">
                  <a:lumMod val="50000"/>
                </a:schemeClr>
              </a:solidFill>
              <a:effectLst>
                <a:outerShdw blurRad="50800" dist="38100" dir="2700000" algn="tl" rotWithShape="0">
                  <a:prstClr val="black">
                    <a:alpha val="40000"/>
                  </a:prstClr>
                </a:outerShdw>
              </a:effectLst>
            </a:rPr>
            <a:t>Conversion Rate</a:t>
          </a:r>
          <a:endParaRPr lang="en-US" sz="1200" b="1" kern="1200" dirty="0">
            <a:solidFill>
              <a:schemeClr val="accent1">
                <a:lumMod val="50000"/>
              </a:schemeClr>
            </a:solidFill>
            <a:effectLst>
              <a:outerShdw blurRad="50800" dist="38100" dir="2700000" algn="tl" rotWithShape="0">
                <a:prstClr val="black">
                  <a:alpha val="40000"/>
                </a:prstClr>
              </a:outerShdw>
            </a:effectLst>
          </a:endParaRPr>
        </a:p>
      </dsp:txBody>
      <dsp:txXfrm>
        <a:off x="1862094" y="8893657"/>
        <a:ext cx="1312122" cy="814695"/>
      </dsp:txXfrm>
    </dsp:sp>
    <dsp:sp modelId="{EAF8BA79-38C0-014C-9ADA-B777B410E471}">
      <dsp:nvSpPr>
        <dsp:cNvPr id="0" name=""/>
        <dsp:cNvSpPr/>
      </dsp:nvSpPr>
      <dsp:spPr>
        <a:xfrm>
          <a:off x="3350986" y="8724458"/>
          <a:ext cx="1362814" cy="865387"/>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89C9FD81-6B92-7D44-84CE-0EEC3A025F36}">
      <dsp:nvSpPr>
        <dsp:cNvPr id="0" name=""/>
        <dsp:cNvSpPr/>
      </dsp:nvSpPr>
      <dsp:spPr>
        <a:xfrm>
          <a:off x="3502410" y="8868311"/>
          <a:ext cx="1362814" cy="865387"/>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solidFill>
                <a:schemeClr val="accent1">
                  <a:lumMod val="50000"/>
                </a:schemeClr>
              </a:solidFill>
              <a:effectLst>
                <a:outerShdw blurRad="50800" dist="38100" dir="2700000" algn="tl" rotWithShape="0">
                  <a:prstClr val="black">
                    <a:alpha val="40000"/>
                  </a:prstClr>
                </a:outerShdw>
              </a:effectLst>
            </a:rPr>
            <a:t>Advertising</a:t>
          </a:r>
          <a:endParaRPr lang="en-US" sz="1200" b="1" kern="1200" dirty="0">
            <a:solidFill>
              <a:schemeClr val="accent1">
                <a:lumMod val="50000"/>
              </a:schemeClr>
            </a:solidFill>
            <a:effectLst>
              <a:outerShdw blurRad="50800" dist="38100" dir="2700000" algn="tl" rotWithShape="0">
                <a:prstClr val="black">
                  <a:alpha val="40000"/>
                </a:prstClr>
              </a:outerShdw>
            </a:effectLst>
          </a:endParaRPr>
        </a:p>
      </dsp:txBody>
      <dsp:txXfrm>
        <a:off x="3527756" y="8893657"/>
        <a:ext cx="1312122" cy="814695"/>
      </dsp:txXfrm>
    </dsp:sp>
    <dsp:sp modelId="{D52CB053-5CA7-4A47-8532-A3EF65EF32E1}">
      <dsp:nvSpPr>
        <dsp:cNvPr id="0" name=""/>
        <dsp:cNvSpPr/>
      </dsp:nvSpPr>
      <dsp:spPr>
        <a:xfrm>
          <a:off x="5016649" y="8724458"/>
          <a:ext cx="1362814" cy="865387"/>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03BDC2CF-8A5D-5E4C-9788-4AFCFDD52DD3}">
      <dsp:nvSpPr>
        <dsp:cNvPr id="0" name=""/>
        <dsp:cNvSpPr/>
      </dsp:nvSpPr>
      <dsp:spPr>
        <a:xfrm>
          <a:off x="5168073" y="8868311"/>
          <a:ext cx="1362814" cy="865387"/>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solidFill>
                <a:schemeClr val="accent1">
                  <a:lumMod val="50000"/>
                </a:schemeClr>
              </a:solidFill>
              <a:effectLst>
                <a:outerShdw blurRad="50800" dist="38100" dir="2700000" algn="tl" rotWithShape="0">
                  <a:prstClr val="black">
                    <a:alpha val="40000"/>
                  </a:prstClr>
                </a:outerShdw>
              </a:effectLst>
            </a:rPr>
            <a:t>Assisted Value</a:t>
          </a:r>
          <a:endParaRPr lang="en-US" sz="1200" b="1" kern="1200" dirty="0">
            <a:solidFill>
              <a:schemeClr val="accent1">
                <a:lumMod val="50000"/>
              </a:schemeClr>
            </a:solidFill>
            <a:effectLst>
              <a:outerShdw blurRad="50800" dist="38100" dir="2700000" algn="tl" rotWithShape="0">
                <a:prstClr val="black">
                  <a:alpha val="40000"/>
                </a:prstClr>
              </a:outerShdw>
            </a:effectLst>
          </a:endParaRPr>
        </a:p>
      </dsp:txBody>
      <dsp:txXfrm>
        <a:off x="5193419" y="8893657"/>
        <a:ext cx="1312122" cy="814695"/>
      </dsp:txXfrm>
    </dsp:sp>
    <dsp:sp modelId="{FF21CB88-D888-B849-9C95-2BA5DECC579B}">
      <dsp:nvSpPr>
        <dsp:cNvPr id="0" name=""/>
        <dsp:cNvSpPr/>
      </dsp:nvSpPr>
      <dsp:spPr>
        <a:xfrm>
          <a:off x="9180805" y="7462719"/>
          <a:ext cx="1362814" cy="865387"/>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2BF37921-DFCF-544B-AEBD-17B356FF1227}">
      <dsp:nvSpPr>
        <dsp:cNvPr id="0" name=""/>
        <dsp:cNvSpPr/>
      </dsp:nvSpPr>
      <dsp:spPr>
        <a:xfrm>
          <a:off x="9332229" y="7606572"/>
          <a:ext cx="1362814" cy="865387"/>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solidFill>
                <a:schemeClr val="accent1">
                  <a:lumMod val="50000"/>
                </a:schemeClr>
              </a:solidFill>
              <a:effectLst>
                <a:outerShdw blurRad="50800" dist="38100" dir="2700000" algn="tl" rotWithShape="0">
                  <a:prstClr val="black">
                    <a:alpha val="40000"/>
                  </a:prstClr>
                </a:outerShdw>
              </a:effectLst>
            </a:rPr>
            <a:t>Offline Revenue Attribution</a:t>
          </a:r>
          <a:endParaRPr lang="en-US" sz="1200" b="1" kern="1200" dirty="0">
            <a:solidFill>
              <a:schemeClr val="accent1">
                <a:lumMod val="50000"/>
              </a:schemeClr>
            </a:solidFill>
            <a:effectLst>
              <a:outerShdw blurRad="50800" dist="38100" dir="2700000" algn="tl" rotWithShape="0">
                <a:prstClr val="black">
                  <a:alpha val="40000"/>
                </a:prstClr>
              </a:outerShdw>
            </a:effectLst>
          </a:endParaRPr>
        </a:p>
      </dsp:txBody>
      <dsp:txXfrm>
        <a:off x="9357575" y="7631918"/>
        <a:ext cx="1312122" cy="814695"/>
      </dsp:txXfrm>
    </dsp:sp>
    <dsp:sp modelId="{25A88385-6150-894D-B312-990E8BB55A65}">
      <dsp:nvSpPr>
        <dsp:cNvPr id="0" name=""/>
        <dsp:cNvSpPr/>
      </dsp:nvSpPr>
      <dsp:spPr>
        <a:xfrm>
          <a:off x="6682312" y="8724458"/>
          <a:ext cx="1362814" cy="865387"/>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A12804F0-2DA6-E34A-A6D0-4548E269FDB0}">
      <dsp:nvSpPr>
        <dsp:cNvPr id="0" name=""/>
        <dsp:cNvSpPr/>
      </dsp:nvSpPr>
      <dsp:spPr>
        <a:xfrm>
          <a:off x="6833735" y="8868311"/>
          <a:ext cx="1362814" cy="865387"/>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solidFill>
                <a:schemeClr val="accent1">
                  <a:lumMod val="50000"/>
                </a:schemeClr>
              </a:solidFill>
              <a:effectLst>
                <a:outerShdw blurRad="50800" dist="38100" dir="2700000" algn="tl" rotWithShape="0">
                  <a:prstClr val="black">
                    <a:alpha val="40000"/>
                  </a:prstClr>
                </a:outerShdw>
              </a:effectLst>
            </a:rPr>
            <a:t>Foot Traffic</a:t>
          </a:r>
          <a:endParaRPr lang="en-US" sz="1200" b="1" kern="1200" dirty="0">
            <a:solidFill>
              <a:schemeClr val="accent1">
                <a:lumMod val="50000"/>
              </a:schemeClr>
            </a:solidFill>
            <a:effectLst>
              <a:outerShdw blurRad="50800" dist="38100" dir="2700000" algn="tl" rotWithShape="0">
                <a:prstClr val="black">
                  <a:alpha val="40000"/>
                </a:prstClr>
              </a:outerShdw>
            </a:effectLst>
          </a:endParaRPr>
        </a:p>
      </dsp:txBody>
      <dsp:txXfrm>
        <a:off x="6859081" y="8893657"/>
        <a:ext cx="1312122" cy="814695"/>
      </dsp:txXfrm>
    </dsp:sp>
    <dsp:sp modelId="{C536077C-9A53-DF4B-AD75-4A61FF3C30EC}">
      <dsp:nvSpPr>
        <dsp:cNvPr id="0" name=""/>
        <dsp:cNvSpPr/>
      </dsp:nvSpPr>
      <dsp:spPr>
        <a:xfrm>
          <a:off x="8347974" y="8724458"/>
          <a:ext cx="1362814" cy="865387"/>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8866EF12-8DD5-C74A-99D0-353E183E8C46}">
      <dsp:nvSpPr>
        <dsp:cNvPr id="0" name=""/>
        <dsp:cNvSpPr/>
      </dsp:nvSpPr>
      <dsp:spPr>
        <a:xfrm>
          <a:off x="8499398" y="8868311"/>
          <a:ext cx="1362814" cy="865387"/>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solidFill>
                <a:schemeClr val="accent1">
                  <a:lumMod val="50000"/>
                </a:schemeClr>
              </a:solidFill>
              <a:effectLst>
                <a:outerShdw blurRad="50800" dist="38100" dir="2700000" algn="tl" rotWithShape="0">
                  <a:prstClr val="black">
                    <a:alpha val="40000"/>
                  </a:prstClr>
                </a:outerShdw>
              </a:effectLst>
            </a:rPr>
            <a:t>Conversion Rate</a:t>
          </a:r>
          <a:endParaRPr lang="en-US" sz="1200" b="1" kern="1200" dirty="0">
            <a:solidFill>
              <a:schemeClr val="accent1">
                <a:lumMod val="50000"/>
              </a:schemeClr>
            </a:solidFill>
            <a:effectLst>
              <a:outerShdw blurRad="50800" dist="38100" dir="2700000" algn="tl" rotWithShape="0">
                <a:prstClr val="black">
                  <a:alpha val="40000"/>
                </a:prstClr>
              </a:outerShdw>
            </a:effectLst>
          </a:endParaRPr>
        </a:p>
      </dsp:txBody>
      <dsp:txXfrm>
        <a:off x="8524744" y="8893657"/>
        <a:ext cx="1312122" cy="814695"/>
      </dsp:txXfrm>
    </dsp:sp>
    <dsp:sp modelId="{12874842-A5AB-0C4F-AD8F-A89111030789}">
      <dsp:nvSpPr>
        <dsp:cNvPr id="0" name=""/>
        <dsp:cNvSpPr/>
      </dsp:nvSpPr>
      <dsp:spPr>
        <a:xfrm>
          <a:off x="10013637" y="8724458"/>
          <a:ext cx="1362814" cy="865387"/>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ECE3DBC5-BF77-F44F-A62D-10A3CBF613EF}">
      <dsp:nvSpPr>
        <dsp:cNvPr id="0" name=""/>
        <dsp:cNvSpPr/>
      </dsp:nvSpPr>
      <dsp:spPr>
        <a:xfrm>
          <a:off x="10165061" y="8868311"/>
          <a:ext cx="1362814" cy="865387"/>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solidFill>
                <a:schemeClr val="accent1">
                  <a:lumMod val="50000"/>
                </a:schemeClr>
              </a:solidFill>
              <a:effectLst>
                <a:outerShdw blurRad="50800" dist="38100" dir="2700000" algn="tl" rotWithShape="0">
                  <a:prstClr val="black">
                    <a:alpha val="40000"/>
                  </a:prstClr>
                </a:outerShdw>
              </a:effectLst>
            </a:rPr>
            <a:t>Basket Size</a:t>
          </a:r>
          <a:endParaRPr lang="en-US" sz="1200" kern="1200" dirty="0"/>
        </a:p>
      </dsp:txBody>
      <dsp:txXfrm>
        <a:off x="10190407" y="8893657"/>
        <a:ext cx="1312122" cy="814695"/>
      </dsp:txXfrm>
    </dsp:sp>
    <dsp:sp modelId="{68DC7AB9-BB0B-FF49-B3C1-045799B161F3}">
      <dsp:nvSpPr>
        <dsp:cNvPr id="0" name=""/>
        <dsp:cNvSpPr/>
      </dsp:nvSpPr>
      <dsp:spPr>
        <a:xfrm>
          <a:off x="11679299" y="8724458"/>
          <a:ext cx="1362814" cy="865387"/>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CA157E24-A511-0043-8F75-04AB9C1BD51A}">
      <dsp:nvSpPr>
        <dsp:cNvPr id="0" name=""/>
        <dsp:cNvSpPr/>
      </dsp:nvSpPr>
      <dsp:spPr>
        <a:xfrm>
          <a:off x="11830723" y="8868311"/>
          <a:ext cx="1362814" cy="865387"/>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t>Assisted Value</a:t>
          </a:r>
          <a:endParaRPr lang="en-US" sz="1200" b="1" kern="1200" dirty="0"/>
        </a:p>
      </dsp:txBody>
      <dsp:txXfrm>
        <a:off x="11856069" y="8893657"/>
        <a:ext cx="1312122" cy="814695"/>
      </dsp:txXfrm>
    </dsp:sp>
    <dsp:sp modelId="{C165AA30-608C-3648-9ECE-35B717E6BFAB}">
      <dsp:nvSpPr>
        <dsp:cNvPr id="0" name=""/>
        <dsp:cNvSpPr/>
      </dsp:nvSpPr>
      <dsp:spPr>
        <a:xfrm>
          <a:off x="12512131" y="6200979"/>
          <a:ext cx="1362814" cy="865387"/>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CA4F720E-F48D-3749-9283-86683DE1ED80}">
      <dsp:nvSpPr>
        <dsp:cNvPr id="0" name=""/>
        <dsp:cNvSpPr/>
      </dsp:nvSpPr>
      <dsp:spPr>
        <a:xfrm>
          <a:off x="12663554" y="6344832"/>
          <a:ext cx="1362814" cy="865387"/>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solidFill>
                <a:schemeClr val="accent1">
                  <a:lumMod val="50000"/>
                </a:schemeClr>
              </a:solidFill>
              <a:effectLst>
                <a:outerShdw blurRad="50800" dist="38100" dir="2700000" algn="tl" rotWithShape="0">
                  <a:prstClr val="black">
                    <a:alpha val="40000"/>
                  </a:prstClr>
                </a:outerShdw>
              </a:effectLst>
            </a:rPr>
            <a:t>Customers</a:t>
          </a:r>
          <a:endParaRPr lang="en-US" sz="1200" b="1" kern="1200" dirty="0">
            <a:solidFill>
              <a:schemeClr val="accent1">
                <a:lumMod val="50000"/>
              </a:schemeClr>
            </a:solidFill>
            <a:effectLst>
              <a:outerShdw blurRad="50800" dist="38100" dir="2700000" algn="tl" rotWithShape="0">
                <a:prstClr val="black">
                  <a:alpha val="40000"/>
                </a:prstClr>
              </a:outerShdw>
            </a:effectLst>
          </a:endParaRPr>
        </a:p>
      </dsp:txBody>
      <dsp:txXfrm>
        <a:off x="12688900" y="6370178"/>
        <a:ext cx="1312122" cy="814695"/>
      </dsp:txXfrm>
    </dsp:sp>
    <dsp:sp modelId="{4A6556C4-34E6-1A4B-A7B0-AD5D7D8D927D}">
      <dsp:nvSpPr>
        <dsp:cNvPr id="0" name=""/>
        <dsp:cNvSpPr/>
      </dsp:nvSpPr>
      <dsp:spPr>
        <a:xfrm>
          <a:off x="10846468" y="7462719"/>
          <a:ext cx="1362814" cy="865387"/>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545DFBC1-1B7B-3041-A4D6-A93259FC61EA}">
      <dsp:nvSpPr>
        <dsp:cNvPr id="0" name=""/>
        <dsp:cNvSpPr/>
      </dsp:nvSpPr>
      <dsp:spPr>
        <a:xfrm>
          <a:off x="10997892" y="7606572"/>
          <a:ext cx="1362814" cy="865387"/>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solidFill>
                <a:schemeClr val="accent1">
                  <a:lumMod val="50000"/>
                </a:schemeClr>
              </a:solidFill>
              <a:effectLst>
                <a:outerShdw blurRad="50800" dist="38100" dir="2700000" algn="tl" rotWithShape="0">
                  <a:prstClr val="black">
                    <a:alpha val="40000"/>
                  </a:prstClr>
                </a:outerShdw>
              </a:effectLst>
            </a:rPr>
            <a:t>Web</a:t>
          </a:r>
          <a:endParaRPr lang="en-US" sz="1200" b="1" kern="1200" dirty="0">
            <a:solidFill>
              <a:schemeClr val="accent1">
                <a:lumMod val="50000"/>
              </a:schemeClr>
            </a:solidFill>
            <a:effectLst>
              <a:outerShdw blurRad="50800" dist="38100" dir="2700000" algn="tl" rotWithShape="0">
                <a:prstClr val="black">
                  <a:alpha val="40000"/>
                </a:prstClr>
              </a:outerShdw>
            </a:effectLst>
          </a:endParaRPr>
        </a:p>
      </dsp:txBody>
      <dsp:txXfrm>
        <a:off x="11023238" y="7631918"/>
        <a:ext cx="1312122" cy="814695"/>
      </dsp:txXfrm>
    </dsp:sp>
    <dsp:sp modelId="{D9B19596-50BE-DD4B-BAB6-7874C205E339}">
      <dsp:nvSpPr>
        <dsp:cNvPr id="0" name=""/>
        <dsp:cNvSpPr/>
      </dsp:nvSpPr>
      <dsp:spPr>
        <a:xfrm>
          <a:off x="12512131" y="7462719"/>
          <a:ext cx="1362814" cy="865387"/>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278225A1-DE14-A441-972A-42C3E480B430}">
      <dsp:nvSpPr>
        <dsp:cNvPr id="0" name=""/>
        <dsp:cNvSpPr/>
      </dsp:nvSpPr>
      <dsp:spPr>
        <a:xfrm>
          <a:off x="12663554" y="7606572"/>
          <a:ext cx="1362814" cy="865387"/>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solidFill>
                <a:schemeClr val="accent1">
                  <a:lumMod val="50000"/>
                </a:schemeClr>
              </a:solidFill>
              <a:effectLst>
                <a:outerShdw blurRad="50800" dist="38100" dir="2700000" algn="tl" rotWithShape="0">
                  <a:prstClr val="black">
                    <a:alpha val="40000"/>
                  </a:prstClr>
                </a:outerShdw>
              </a:effectLst>
            </a:rPr>
            <a:t>In-Store</a:t>
          </a:r>
          <a:endParaRPr lang="en-US" sz="1200" b="1" kern="1200" dirty="0">
            <a:solidFill>
              <a:schemeClr val="accent1">
                <a:lumMod val="50000"/>
              </a:schemeClr>
            </a:solidFill>
            <a:effectLst>
              <a:outerShdw blurRad="50800" dist="38100" dir="2700000" algn="tl" rotWithShape="0">
                <a:prstClr val="black">
                  <a:alpha val="40000"/>
                </a:prstClr>
              </a:outerShdw>
            </a:effectLst>
          </a:endParaRPr>
        </a:p>
      </dsp:txBody>
      <dsp:txXfrm>
        <a:off x="12688900" y="7631918"/>
        <a:ext cx="1312122" cy="814695"/>
      </dsp:txXfrm>
    </dsp:sp>
    <dsp:sp modelId="{EBE94D10-CB91-7247-A338-137ED37AD7BB}">
      <dsp:nvSpPr>
        <dsp:cNvPr id="0" name=""/>
        <dsp:cNvSpPr/>
      </dsp:nvSpPr>
      <dsp:spPr>
        <a:xfrm>
          <a:off x="14177793" y="7462719"/>
          <a:ext cx="1362814" cy="865387"/>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E507C385-AB6A-9546-B456-C49DBAA17A09}">
      <dsp:nvSpPr>
        <dsp:cNvPr id="0" name=""/>
        <dsp:cNvSpPr/>
      </dsp:nvSpPr>
      <dsp:spPr>
        <a:xfrm>
          <a:off x="14329217" y="7606572"/>
          <a:ext cx="1362814" cy="865387"/>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solidFill>
                <a:schemeClr val="accent1">
                  <a:lumMod val="50000"/>
                </a:schemeClr>
              </a:solidFill>
              <a:effectLst>
                <a:outerShdw blurRad="50800" dist="38100" dir="2700000" algn="tl" rotWithShape="0">
                  <a:prstClr val="black">
                    <a:alpha val="40000"/>
                  </a:prstClr>
                </a:outerShdw>
              </a:effectLst>
            </a:rPr>
            <a:t>App</a:t>
          </a:r>
          <a:endParaRPr lang="en-US" sz="1200" b="1" kern="1200" dirty="0">
            <a:solidFill>
              <a:schemeClr val="accent1">
                <a:lumMod val="50000"/>
              </a:schemeClr>
            </a:solidFill>
            <a:effectLst>
              <a:outerShdw blurRad="50800" dist="38100" dir="2700000" algn="tl" rotWithShape="0">
                <a:prstClr val="black">
                  <a:alpha val="40000"/>
                </a:prstClr>
              </a:outerShdw>
            </a:effectLst>
          </a:endParaRPr>
        </a:p>
      </dsp:txBody>
      <dsp:txXfrm>
        <a:off x="14354563" y="7631918"/>
        <a:ext cx="1312122" cy="814695"/>
      </dsp:txXfrm>
    </dsp:sp>
    <dsp:sp modelId="{237B0FDC-A266-9847-8F77-63CAAF503F44}">
      <dsp:nvSpPr>
        <dsp:cNvPr id="0" name=""/>
        <dsp:cNvSpPr/>
      </dsp:nvSpPr>
      <dsp:spPr>
        <a:xfrm>
          <a:off x="18341950" y="4939240"/>
          <a:ext cx="1362814" cy="865387"/>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13068196-C853-604C-8748-B282436CD6ED}">
      <dsp:nvSpPr>
        <dsp:cNvPr id="0" name=""/>
        <dsp:cNvSpPr/>
      </dsp:nvSpPr>
      <dsp:spPr>
        <a:xfrm>
          <a:off x="18493374" y="5083093"/>
          <a:ext cx="1362814" cy="865387"/>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solidFill>
                <a:schemeClr val="accent1">
                  <a:lumMod val="50000"/>
                </a:schemeClr>
              </a:solidFill>
              <a:effectLst>
                <a:outerShdw blurRad="50800" dist="38100" dir="2700000" algn="tl" rotWithShape="0">
                  <a:prstClr val="black">
                    <a:alpha val="40000"/>
                  </a:prstClr>
                </a:outerShdw>
              </a:effectLst>
            </a:rPr>
            <a:t>Profit Margin</a:t>
          </a:r>
          <a:endParaRPr lang="en-US" sz="1200" b="1" kern="1200" dirty="0">
            <a:solidFill>
              <a:schemeClr val="accent1">
                <a:lumMod val="50000"/>
              </a:schemeClr>
            </a:solidFill>
            <a:effectLst>
              <a:outerShdw blurRad="50800" dist="38100" dir="2700000" algn="tl" rotWithShape="0">
                <a:prstClr val="black">
                  <a:alpha val="40000"/>
                </a:prstClr>
              </a:outerShdw>
            </a:effectLst>
          </a:endParaRPr>
        </a:p>
      </dsp:txBody>
      <dsp:txXfrm>
        <a:off x="18518720" y="5108439"/>
        <a:ext cx="1312122" cy="814695"/>
      </dsp:txXfrm>
    </dsp:sp>
    <dsp:sp modelId="{9A1BC53F-FEAB-4F46-9C18-3EBE0F699165}">
      <dsp:nvSpPr>
        <dsp:cNvPr id="0" name=""/>
        <dsp:cNvSpPr/>
      </dsp:nvSpPr>
      <dsp:spPr>
        <a:xfrm>
          <a:off x="17509118" y="6200979"/>
          <a:ext cx="1362814" cy="865387"/>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3E3529BF-94B9-2341-A86A-4227C469F8D0}">
      <dsp:nvSpPr>
        <dsp:cNvPr id="0" name=""/>
        <dsp:cNvSpPr/>
      </dsp:nvSpPr>
      <dsp:spPr>
        <a:xfrm>
          <a:off x="17660542" y="6344832"/>
          <a:ext cx="1362814" cy="865387"/>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solidFill>
                <a:schemeClr val="accent1">
                  <a:lumMod val="50000"/>
                </a:schemeClr>
              </a:solidFill>
              <a:effectLst>
                <a:outerShdw blurRad="50800" dist="38100" dir="2700000" algn="tl" rotWithShape="0">
                  <a:prstClr val="black">
                    <a:alpha val="40000"/>
                  </a:prstClr>
                </a:outerShdw>
              </a:effectLst>
            </a:rPr>
            <a:t>Fixed Costs</a:t>
          </a:r>
          <a:endParaRPr lang="en-US" sz="1200" b="1" kern="1200" dirty="0">
            <a:solidFill>
              <a:schemeClr val="accent1">
                <a:lumMod val="50000"/>
              </a:schemeClr>
            </a:solidFill>
            <a:effectLst>
              <a:outerShdw blurRad="50800" dist="38100" dir="2700000" algn="tl" rotWithShape="0">
                <a:prstClr val="black">
                  <a:alpha val="40000"/>
                </a:prstClr>
              </a:outerShdw>
            </a:effectLst>
          </a:endParaRPr>
        </a:p>
      </dsp:txBody>
      <dsp:txXfrm>
        <a:off x="17685888" y="6370178"/>
        <a:ext cx="1312122" cy="814695"/>
      </dsp:txXfrm>
    </dsp:sp>
    <dsp:sp modelId="{60F58D28-A0CA-1F45-B852-6B248FF21123}">
      <dsp:nvSpPr>
        <dsp:cNvPr id="0" name=""/>
        <dsp:cNvSpPr/>
      </dsp:nvSpPr>
      <dsp:spPr>
        <a:xfrm>
          <a:off x="19174781" y="6200979"/>
          <a:ext cx="1362814" cy="865387"/>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8CDB4A07-2D03-834A-AFB0-4E8D10C51554}">
      <dsp:nvSpPr>
        <dsp:cNvPr id="0" name=""/>
        <dsp:cNvSpPr/>
      </dsp:nvSpPr>
      <dsp:spPr>
        <a:xfrm>
          <a:off x="19326205" y="6344832"/>
          <a:ext cx="1362814" cy="865387"/>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solidFill>
                <a:schemeClr val="accent1">
                  <a:lumMod val="50000"/>
                </a:schemeClr>
              </a:solidFill>
              <a:effectLst>
                <a:outerShdw blurRad="50800" dist="38100" dir="2700000" algn="tl" rotWithShape="0">
                  <a:prstClr val="black">
                    <a:alpha val="40000"/>
                  </a:prstClr>
                </a:outerShdw>
              </a:effectLst>
            </a:rPr>
            <a:t>Variable Costs</a:t>
          </a:r>
          <a:endParaRPr lang="en-US" sz="1200" b="1" kern="1200" dirty="0">
            <a:solidFill>
              <a:schemeClr val="accent1">
                <a:lumMod val="50000"/>
              </a:schemeClr>
            </a:solidFill>
            <a:effectLst>
              <a:outerShdw blurRad="50800" dist="38100" dir="2700000" algn="tl" rotWithShape="0">
                <a:prstClr val="black">
                  <a:alpha val="40000"/>
                </a:prstClr>
              </a:outerShdw>
            </a:effectLst>
          </a:endParaRPr>
        </a:p>
      </dsp:txBody>
      <dsp:txXfrm>
        <a:off x="19351551" y="6370178"/>
        <a:ext cx="1312122" cy="814695"/>
      </dsp:txXfrm>
    </dsp:sp>
    <dsp:sp modelId="{8C93DED1-2DDB-D54B-AFC1-3A9E4BAD23B5}">
      <dsp:nvSpPr>
        <dsp:cNvPr id="0" name=""/>
        <dsp:cNvSpPr/>
      </dsp:nvSpPr>
      <dsp:spPr>
        <a:xfrm>
          <a:off x="15843456" y="7462719"/>
          <a:ext cx="1362814" cy="865387"/>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05824DED-BB50-1040-BEA7-6416C67E57A1}">
      <dsp:nvSpPr>
        <dsp:cNvPr id="0" name=""/>
        <dsp:cNvSpPr/>
      </dsp:nvSpPr>
      <dsp:spPr>
        <a:xfrm>
          <a:off x="15994880" y="7606572"/>
          <a:ext cx="1362814" cy="865387"/>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solidFill>
                <a:schemeClr val="accent1">
                  <a:lumMod val="50000"/>
                </a:schemeClr>
              </a:solidFill>
              <a:effectLst>
                <a:outerShdw blurRad="50800" dist="38100" dir="2700000" algn="tl" rotWithShape="0">
                  <a:prstClr val="black">
                    <a:alpha val="40000"/>
                  </a:prstClr>
                </a:outerShdw>
              </a:effectLst>
            </a:rPr>
            <a:t>CAC</a:t>
          </a:r>
          <a:endParaRPr lang="en-US" sz="1200" b="1" kern="1200" dirty="0">
            <a:solidFill>
              <a:schemeClr val="accent1">
                <a:lumMod val="50000"/>
              </a:schemeClr>
            </a:solidFill>
            <a:effectLst>
              <a:outerShdw blurRad="50800" dist="38100" dir="2700000" algn="tl" rotWithShape="0">
                <a:prstClr val="black">
                  <a:alpha val="40000"/>
                </a:prstClr>
              </a:outerShdw>
            </a:effectLst>
          </a:endParaRPr>
        </a:p>
      </dsp:txBody>
      <dsp:txXfrm>
        <a:off x="16020226" y="7631918"/>
        <a:ext cx="1312122" cy="814695"/>
      </dsp:txXfrm>
    </dsp:sp>
    <dsp:sp modelId="{BD5D801E-16A9-904F-8A69-472076AD3213}">
      <dsp:nvSpPr>
        <dsp:cNvPr id="0" name=""/>
        <dsp:cNvSpPr/>
      </dsp:nvSpPr>
      <dsp:spPr>
        <a:xfrm>
          <a:off x="17509118" y="7462719"/>
          <a:ext cx="1362814" cy="865387"/>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F3BF705A-AB7E-434D-BB23-03FBA04B5064}">
      <dsp:nvSpPr>
        <dsp:cNvPr id="0" name=""/>
        <dsp:cNvSpPr/>
      </dsp:nvSpPr>
      <dsp:spPr>
        <a:xfrm>
          <a:off x="17660542" y="7606572"/>
          <a:ext cx="1362814" cy="865387"/>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solidFill>
                <a:schemeClr val="accent1">
                  <a:lumMod val="50000"/>
                </a:schemeClr>
              </a:solidFill>
              <a:effectLst>
                <a:outerShdw blurRad="50800" dist="38100" dir="2700000" algn="tl" rotWithShape="0">
                  <a:prstClr val="black">
                    <a:alpha val="40000"/>
                  </a:prstClr>
                </a:outerShdw>
              </a:effectLst>
            </a:rPr>
            <a:t>Tax</a:t>
          </a:r>
          <a:endParaRPr lang="en-US" sz="1200" b="1" kern="1200" dirty="0">
            <a:solidFill>
              <a:schemeClr val="accent1">
                <a:lumMod val="50000"/>
              </a:schemeClr>
            </a:solidFill>
            <a:effectLst>
              <a:outerShdw blurRad="50800" dist="38100" dir="2700000" algn="tl" rotWithShape="0">
                <a:prstClr val="black">
                  <a:alpha val="40000"/>
                </a:prstClr>
              </a:outerShdw>
            </a:effectLst>
          </a:endParaRPr>
        </a:p>
      </dsp:txBody>
      <dsp:txXfrm>
        <a:off x="17685888" y="7631918"/>
        <a:ext cx="1312122" cy="814695"/>
      </dsp:txXfrm>
    </dsp:sp>
    <dsp:sp modelId="{31B753A5-5FC4-5A4F-ADE6-2368F5910A42}">
      <dsp:nvSpPr>
        <dsp:cNvPr id="0" name=""/>
        <dsp:cNvSpPr/>
      </dsp:nvSpPr>
      <dsp:spPr>
        <a:xfrm>
          <a:off x="19174781" y="7462719"/>
          <a:ext cx="1362814" cy="865387"/>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A069CEA2-26F1-7D42-8C3B-FE448AB69D67}">
      <dsp:nvSpPr>
        <dsp:cNvPr id="0" name=""/>
        <dsp:cNvSpPr/>
      </dsp:nvSpPr>
      <dsp:spPr>
        <a:xfrm>
          <a:off x="19326205" y="7606572"/>
          <a:ext cx="1362814" cy="865387"/>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solidFill>
                <a:schemeClr val="accent1">
                  <a:lumMod val="50000"/>
                </a:schemeClr>
              </a:solidFill>
              <a:effectLst>
                <a:outerShdw blurRad="50800" dist="38100" dir="2700000" algn="tl" rotWithShape="0">
                  <a:prstClr val="black">
                    <a:alpha val="40000"/>
                  </a:prstClr>
                </a:outerShdw>
              </a:effectLst>
            </a:rPr>
            <a:t>Transactional Costs</a:t>
          </a:r>
          <a:endParaRPr lang="en-US" sz="1200" b="1" kern="1200" dirty="0">
            <a:solidFill>
              <a:schemeClr val="accent1">
                <a:lumMod val="50000"/>
              </a:schemeClr>
            </a:solidFill>
            <a:effectLst>
              <a:outerShdw blurRad="50800" dist="38100" dir="2700000" algn="tl" rotWithShape="0">
                <a:prstClr val="black">
                  <a:alpha val="40000"/>
                </a:prstClr>
              </a:outerShdw>
            </a:effectLst>
          </a:endParaRPr>
        </a:p>
      </dsp:txBody>
      <dsp:txXfrm>
        <a:off x="19351551" y="7631918"/>
        <a:ext cx="1312122" cy="814695"/>
      </dsp:txXfrm>
    </dsp:sp>
    <dsp:sp modelId="{7C909D4A-ECF3-434D-B2C4-E66F20ED841E}">
      <dsp:nvSpPr>
        <dsp:cNvPr id="0" name=""/>
        <dsp:cNvSpPr/>
      </dsp:nvSpPr>
      <dsp:spPr>
        <a:xfrm>
          <a:off x="20840444" y="7462719"/>
          <a:ext cx="1362814" cy="865387"/>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07D36519-BD2C-8A41-9F88-CEDE0E723F2A}">
      <dsp:nvSpPr>
        <dsp:cNvPr id="0" name=""/>
        <dsp:cNvSpPr/>
      </dsp:nvSpPr>
      <dsp:spPr>
        <a:xfrm>
          <a:off x="20991867" y="7606572"/>
          <a:ext cx="1362814" cy="865387"/>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solidFill>
                <a:schemeClr val="accent1">
                  <a:lumMod val="50000"/>
                </a:schemeClr>
              </a:solidFill>
              <a:effectLst>
                <a:outerShdw blurRad="50800" dist="38100" dir="2700000" algn="tl" rotWithShape="0">
                  <a:prstClr val="black">
                    <a:alpha val="40000"/>
                  </a:prstClr>
                </a:outerShdw>
              </a:effectLst>
            </a:rPr>
            <a:t>Shipping &amp; Handling</a:t>
          </a:r>
          <a:endParaRPr lang="en-US" sz="1200" b="1" kern="1200" dirty="0">
            <a:solidFill>
              <a:schemeClr val="accent1">
                <a:lumMod val="50000"/>
              </a:schemeClr>
            </a:solidFill>
            <a:effectLst>
              <a:outerShdw blurRad="50800" dist="38100" dir="2700000" algn="tl" rotWithShape="0">
                <a:prstClr val="black">
                  <a:alpha val="40000"/>
                </a:prstClr>
              </a:outerShdw>
            </a:effectLst>
          </a:endParaRPr>
        </a:p>
      </dsp:txBody>
      <dsp:txXfrm>
        <a:off x="21017213" y="7631918"/>
        <a:ext cx="1312122" cy="814695"/>
      </dsp:txXfrm>
    </dsp:sp>
    <dsp:sp modelId="{59031055-1BC2-8F43-A4A3-A7F15F7BBEC5}">
      <dsp:nvSpPr>
        <dsp:cNvPr id="0" name=""/>
        <dsp:cNvSpPr/>
      </dsp:nvSpPr>
      <dsp:spPr>
        <a:xfrm>
          <a:off x="22506106" y="7462719"/>
          <a:ext cx="1362814" cy="865387"/>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B20F10BF-BA5B-AD41-B946-049ECE63137C}">
      <dsp:nvSpPr>
        <dsp:cNvPr id="0" name=""/>
        <dsp:cNvSpPr/>
      </dsp:nvSpPr>
      <dsp:spPr>
        <a:xfrm>
          <a:off x="22657530" y="7606572"/>
          <a:ext cx="1362814" cy="865387"/>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solidFill>
                <a:schemeClr val="accent1">
                  <a:lumMod val="50000"/>
                </a:schemeClr>
              </a:solidFill>
              <a:effectLst>
                <a:outerShdw blurRad="50800" dist="38100" dir="2700000" algn="tl" rotWithShape="0">
                  <a:prstClr val="black">
                    <a:alpha val="40000"/>
                  </a:prstClr>
                </a:outerShdw>
              </a:effectLst>
            </a:rPr>
            <a:t>Cost of Goods Sold</a:t>
          </a:r>
          <a:endParaRPr lang="en-US" sz="1200" b="1" kern="1200" dirty="0">
            <a:solidFill>
              <a:schemeClr val="accent1">
                <a:lumMod val="50000"/>
              </a:schemeClr>
            </a:solidFill>
            <a:effectLst>
              <a:outerShdw blurRad="50800" dist="38100" dir="2700000" algn="tl" rotWithShape="0">
                <a:prstClr val="black">
                  <a:alpha val="40000"/>
                </a:prstClr>
              </a:outerShdw>
            </a:effectLst>
          </a:endParaRPr>
        </a:p>
      </dsp:txBody>
      <dsp:txXfrm>
        <a:off x="22682876" y="7631918"/>
        <a:ext cx="1312122" cy="814695"/>
      </dsp:txXfrm>
    </dsp:sp>
    <dsp:sp modelId="{832AC448-1B23-9F46-80AD-DE4443B3E350}">
      <dsp:nvSpPr>
        <dsp:cNvPr id="0" name=""/>
        <dsp:cNvSpPr/>
      </dsp:nvSpPr>
      <dsp:spPr>
        <a:xfrm>
          <a:off x="22506106" y="8724458"/>
          <a:ext cx="1362814" cy="865387"/>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ABE38C49-F9E7-5E47-A91F-7E424E6B6656}">
      <dsp:nvSpPr>
        <dsp:cNvPr id="0" name=""/>
        <dsp:cNvSpPr/>
      </dsp:nvSpPr>
      <dsp:spPr>
        <a:xfrm>
          <a:off x="22657530" y="8868311"/>
          <a:ext cx="1362814" cy="865387"/>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solidFill>
                <a:schemeClr val="accent1">
                  <a:lumMod val="50000"/>
                </a:schemeClr>
              </a:solidFill>
              <a:effectLst>
                <a:outerShdw blurRad="50800" dist="38100" dir="2700000" algn="tl" rotWithShape="0">
                  <a:prstClr val="black">
                    <a:alpha val="40000"/>
                  </a:prstClr>
                </a:outerShdw>
              </a:effectLst>
            </a:rPr>
            <a:t>Product Mix</a:t>
          </a:r>
          <a:endParaRPr lang="en-US" sz="1200" b="1" kern="1200" dirty="0">
            <a:solidFill>
              <a:schemeClr val="accent1">
                <a:lumMod val="50000"/>
              </a:schemeClr>
            </a:solidFill>
            <a:effectLst>
              <a:outerShdw blurRad="50800" dist="38100" dir="2700000" algn="tl" rotWithShape="0">
                <a:prstClr val="black">
                  <a:alpha val="40000"/>
                </a:prstClr>
              </a:outerShdw>
            </a:effectLst>
          </a:endParaRPr>
        </a:p>
      </dsp:txBody>
      <dsp:txXfrm>
        <a:off x="22682876" y="8893657"/>
        <a:ext cx="1312122" cy="81469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84E382-9299-0B40-AFD8-558B5CC7605F}">
      <dsp:nvSpPr>
        <dsp:cNvPr id="0" name=""/>
        <dsp:cNvSpPr/>
      </dsp:nvSpPr>
      <dsp:spPr>
        <a:xfrm>
          <a:off x="21908468" y="8521679"/>
          <a:ext cx="91440" cy="725877"/>
        </a:xfrm>
        <a:custGeom>
          <a:avLst/>
          <a:gdLst/>
          <a:ahLst/>
          <a:cxnLst/>
          <a:rect l="0" t="0" r="0" b="0"/>
          <a:pathLst>
            <a:path>
              <a:moveTo>
                <a:pt x="45720" y="0"/>
              </a:moveTo>
              <a:lnTo>
                <a:pt x="45720" y="725877"/>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EDB17704-F688-6F40-96CD-1C8B40520C49}">
      <dsp:nvSpPr>
        <dsp:cNvPr id="0" name=""/>
        <dsp:cNvSpPr/>
      </dsp:nvSpPr>
      <dsp:spPr>
        <a:xfrm>
          <a:off x="20428944" y="6210935"/>
          <a:ext cx="1525243" cy="725877"/>
        </a:xfrm>
        <a:custGeom>
          <a:avLst/>
          <a:gdLst/>
          <a:ahLst/>
          <a:cxnLst/>
          <a:rect l="0" t="0" r="0" b="0"/>
          <a:pathLst>
            <a:path>
              <a:moveTo>
                <a:pt x="0" y="0"/>
              </a:moveTo>
              <a:lnTo>
                <a:pt x="0" y="494664"/>
              </a:lnTo>
              <a:lnTo>
                <a:pt x="1525243" y="494664"/>
              </a:lnTo>
              <a:lnTo>
                <a:pt x="1525243" y="725877"/>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698CEF23-F8E0-0D4D-ACF4-98690BBF4D39}">
      <dsp:nvSpPr>
        <dsp:cNvPr id="0" name=""/>
        <dsp:cNvSpPr/>
      </dsp:nvSpPr>
      <dsp:spPr>
        <a:xfrm>
          <a:off x="18857981" y="8521679"/>
          <a:ext cx="91440" cy="725877"/>
        </a:xfrm>
        <a:custGeom>
          <a:avLst/>
          <a:gdLst/>
          <a:ahLst/>
          <a:cxnLst/>
          <a:rect l="0" t="0" r="0" b="0"/>
          <a:pathLst>
            <a:path>
              <a:moveTo>
                <a:pt x="45720" y="0"/>
              </a:moveTo>
              <a:lnTo>
                <a:pt x="45720" y="725877"/>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C53107F9-108B-C747-8148-5C86FCCC400E}">
      <dsp:nvSpPr>
        <dsp:cNvPr id="0" name=""/>
        <dsp:cNvSpPr/>
      </dsp:nvSpPr>
      <dsp:spPr>
        <a:xfrm>
          <a:off x="18903701" y="6210935"/>
          <a:ext cx="1525243" cy="725877"/>
        </a:xfrm>
        <a:custGeom>
          <a:avLst/>
          <a:gdLst/>
          <a:ahLst/>
          <a:cxnLst/>
          <a:rect l="0" t="0" r="0" b="0"/>
          <a:pathLst>
            <a:path>
              <a:moveTo>
                <a:pt x="1525243" y="0"/>
              </a:moveTo>
              <a:lnTo>
                <a:pt x="1525243" y="494664"/>
              </a:lnTo>
              <a:lnTo>
                <a:pt x="0" y="494664"/>
              </a:lnTo>
              <a:lnTo>
                <a:pt x="0" y="725877"/>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AB848C3A-5362-BA47-B9A2-4426C7A0F8D8}">
      <dsp:nvSpPr>
        <dsp:cNvPr id="0" name=""/>
        <dsp:cNvSpPr/>
      </dsp:nvSpPr>
      <dsp:spPr>
        <a:xfrm>
          <a:off x="18903701" y="3900192"/>
          <a:ext cx="1525243" cy="725877"/>
        </a:xfrm>
        <a:custGeom>
          <a:avLst/>
          <a:gdLst/>
          <a:ahLst/>
          <a:cxnLst/>
          <a:rect l="0" t="0" r="0" b="0"/>
          <a:pathLst>
            <a:path>
              <a:moveTo>
                <a:pt x="0" y="0"/>
              </a:moveTo>
              <a:lnTo>
                <a:pt x="0" y="494664"/>
              </a:lnTo>
              <a:lnTo>
                <a:pt x="1525243" y="494664"/>
              </a:lnTo>
              <a:lnTo>
                <a:pt x="1525243" y="725877"/>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001FF254-D6F9-AA42-94CA-634782CA6485}">
      <dsp:nvSpPr>
        <dsp:cNvPr id="0" name=""/>
        <dsp:cNvSpPr/>
      </dsp:nvSpPr>
      <dsp:spPr>
        <a:xfrm>
          <a:off x="17378457" y="3900192"/>
          <a:ext cx="1525243" cy="725877"/>
        </a:xfrm>
        <a:custGeom>
          <a:avLst/>
          <a:gdLst/>
          <a:ahLst/>
          <a:cxnLst/>
          <a:rect l="0" t="0" r="0" b="0"/>
          <a:pathLst>
            <a:path>
              <a:moveTo>
                <a:pt x="1525243" y="0"/>
              </a:moveTo>
              <a:lnTo>
                <a:pt x="1525243" y="494664"/>
              </a:lnTo>
              <a:lnTo>
                <a:pt x="0" y="494664"/>
              </a:lnTo>
              <a:lnTo>
                <a:pt x="0" y="725877"/>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B6993CDB-5681-3245-8672-06E1F4C1D36D}">
      <dsp:nvSpPr>
        <dsp:cNvPr id="0" name=""/>
        <dsp:cNvSpPr/>
      </dsp:nvSpPr>
      <dsp:spPr>
        <a:xfrm>
          <a:off x="14880092" y="1589448"/>
          <a:ext cx="4023608" cy="725877"/>
        </a:xfrm>
        <a:custGeom>
          <a:avLst/>
          <a:gdLst/>
          <a:ahLst/>
          <a:cxnLst/>
          <a:rect l="0" t="0" r="0" b="0"/>
          <a:pathLst>
            <a:path>
              <a:moveTo>
                <a:pt x="0" y="0"/>
              </a:moveTo>
              <a:lnTo>
                <a:pt x="0" y="494664"/>
              </a:lnTo>
              <a:lnTo>
                <a:pt x="4023608" y="494664"/>
              </a:lnTo>
              <a:lnTo>
                <a:pt x="4023608" y="725877"/>
              </a:lnTo>
            </a:path>
          </a:pathLst>
        </a:custGeom>
        <a:noFill/>
        <a:ln w="2540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4CD13650-B4C6-3C4C-BBA2-E36EB8E13A7E}">
      <dsp:nvSpPr>
        <dsp:cNvPr id="0" name=""/>
        <dsp:cNvSpPr/>
      </dsp:nvSpPr>
      <dsp:spPr>
        <a:xfrm>
          <a:off x="14327971" y="6210935"/>
          <a:ext cx="1525243" cy="725877"/>
        </a:xfrm>
        <a:custGeom>
          <a:avLst/>
          <a:gdLst/>
          <a:ahLst/>
          <a:cxnLst/>
          <a:rect l="0" t="0" r="0" b="0"/>
          <a:pathLst>
            <a:path>
              <a:moveTo>
                <a:pt x="0" y="0"/>
              </a:moveTo>
              <a:lnTo>
                <a:pt x="0" y="494664"/>
              </a:lnTo>
              <a:lnTo>
                <a:pt x="1525243" y="494664"/>
              </a:lnTo>
              <a:lnTo>
                <a:pt x="1525243" y="725877"/>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C8002D36-F01C-7642-83C6-55AB7698BA05}">
      <dsp:nvSpPr>
        <dsp:cNvPr id="0" name=""/>
        <dsp:cNvSpPr/>
      </dsp:nvSpPr>
      <dsp:spPr>
        <a:xfrm>
          <a:off x="12757007" y="8521679"/>
          <a:ext cx="91440" cy="725877"/>
        </a:xfrm>
        <a:custGeom>
          <a:avLst/>
          <a:gdLst/>
          <a:ahLst/>
          <a:cxnLst/>
          <a:rect l="0" t="0" r="0" b="0"/>
          <a:pathLst>
            <a:path>
              <a:moveTo>
                <a:pt x="45720" y="0"/>
              </a:moveTo>
              <a:lnTo>
                <a:pt x="45720" y="725877"/>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C68C13E-CC89-004E-A397-664F9D880DCD}">
      <dsp:nvSpPr>
        <dsp:cNvPr id="0" name=""/>
        <dsp:cNvSpPr/>
      </dsp:nvSpPr>
      <dsp:spPr>
        <a:xfrm>
          <a:off x="12802727" y="6210935"/>
          <a:ext cx="1525243" cy="725877"/>
        </a:xfrm>
        <a:custGeom>
          <a:avLst/>
          <a:gdLst/>
          <a:ahLst/>
          <a:cxnLst/>
          <a:rect l="0" t="0" r="0" b="0"/>
          <a:pathLst>
            <a:path>
              <a:moveTo>
                <a:pt x="1525243" y="0"/>
              </a:moveTo>
              <a:lnTo>
                <a:pt x="1525243" y="494664"/>
              </a:lnTo>
              <a:lnTo>
                <a:pt x="0" y="494664"/>
              </a:lnTo>
              <a:lnTo>
                <a:pt x="0" y="725877"/>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82D56584-4DE4-2B41-BB45-D27C2D0D7C89}">
      <dsp:nvSpPr>
        <dsp:cNvPr id="0" name=""/>
        <dsp:cNvSpPr/>
      </dsp:nvSpPr>
      <dsp:spPr>
        <a:xfrm>
          <a:off x="10856483" y="3900192"/>
          <a:ext cx="3471487" cy="725877"/>
        </a:xfrm>
        <a:custGeom>
          <a:avLst/>
          <a:gdLst/>
          <a:ahLst/>
          <a:cxnLst/>
          <a:rect l="0" t="0" r="0" b="0"/>
          <a:pathLst>
            <a:path>
              <a:moveTo>
                <a:pt x="0" y="0"/>
              </a:moveTo>
              <a:lnTo>
                <a:pt x="0" y="494664"/>
              </a:lnTo>
              <a:lnTo>
                <a:pt x="3471487" y="494664"/>
              </a:lnTo>
              <a:lnTo>
                <a:pt x="3471487" y="725877"/>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1BA4DB5B-0F72-224A-AC4B-AF406EE29299}">
      <dsp:nvSpPr>
        <dsp:cNvPr id="0" name=""/>
        <dsp:cNvSpPr/>
      </dsp:nvSpPr>
      <dsp:spPr>
        <a:xfrm>
          <a:off x="7384995" y="6210935"/>
          <a:ext cx="1525243" cy="725877"/>
        </a:xfrm>
        <a:custGeom>
          <a:avLst/>
          <a:gdLst/>
          <a:ahLst/>
          <a:cxnLst/>
          <a:rect l="0" t="0" r="0" b="0"/>
          <a:pathLst>
            <a:path>
              <a:moveTo>
                <a:pt x="0" y="0"/>
              </a:moveTo>
              <a:lnTo>
                <a:pt x="0" y="494664"/>
              </a:lnTo>
              <a:lnTo>
                <a:pt x="1525243" y="494664"/>
              </a:lnTo>
              <a:lnTo>
                <a:pt x="1525243" y="725877"/>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6F1C2531-F6D7-554C-B237-64585FB09384}">
      <dsp:nvSpPr>
        <dsp:cNvPr id="0" name=""/>
        <dsp:cNvSpPr/>
      </dsp:nvSpPr>
      <dsp:spPr>
        <a:xfrm>
          <a:off x="5859752" y="8521679"/>
          <a:ext cx="3892489" cy="725877"/>
        </a:xfrm>
        <a:custGeom>
          <a:avLst/>
          <a:gdLst/>
          <a:ahLst/>
          <a:cxnLst/>
          <a:rect l="0" t="0" r="0" b="0"/>
          <a:pathLst>
            <a:path>
              <a:moveTo>
                <a:pt x="0" y="0"/>
              </a:moveTo>
              <a:lnTo>
                <a:pt x="0" y="494664"/>
              </a:lnTo>
              <a:lnTo>
                <a:pt x="3892489" y="494664"/>
              </a:lnTo>
              <a:lnTo>
                <a:pt x="3892489" y="725877"/>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FE3605E3-5F76-1245-94CF-3B8BF0D125AC}">
      <dsp:nvSpPr>
        <dsp:cNvPr id="0" name=""/>
        <dsp:cNvSpPr/>
      </dsp:nvSpPr>
      <dsp:spPr>
        <a:xfrm>
          <a:off x="6701754" y="10832423"/>
          <a:ext cx="1525243" cy="725877"/>
        </a:xfrm>
        <a:custGeom>
          <a:avLst/>
          <a:gdLst/>
          <a:ahLst/>
          <a:cxnLst/>
          <a:rect l="0" t="0" r="0" b="0"/>
          <a:pathLst>
            <a:path>
              <a:moveTo>
                <a:pt x="0" y="0"/>
              </a:moveTo>
              <a:lnTo>
                <a:pt x="0" y="494664"/>
              </a:lnTo>
              <a:lnTo>
                <a:pt x="1525243" y="494664"/>
              </a:lnTo>
              <a:lnTo>
                <a:pt x="1525243" y="725877"/>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6AEA2299-4ADF-4445-BBFB-696B6A613788}">
      <dsp:nvSpPr>
        <dsp:cNvPr id="0" name=""/>
        <dsp:cNvSpPr/>
      </dsp:nvSpPr>
      <dsp:spPr>
        <a:xfrm>
          <a:off x="5176511" y="10832423"/>
          <a:ext cx="1525243" cy="725877"/>
        </a:xfrm>
        <a:custGeom>
          <a:avLst/>
          <a:gdLst/>
          <a:ahLst/>
          <a:cxnLst/>
          <a:rect l="0" t="0" r="0" b="0"/>
          <a:pathLst>
            <a:path>
              <a:moveTo>
                <a:pt x="1525243" y="0"/>
              </a:moveTo>
              <a:lnTo>
                <a:pt x="1525243" y="494664"/>
              </a:lnTo>
              <a:lnTo>
                <a:pt x="0" y="494664"/>
              </a:lnTo>
              <a:lnTo>
                <a:pt x="0" y="725877"/>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3857BD89-200E-B442-9678-6A04F58E556C}">
      <dsp:nvSpPr>
        <dsp:cNvPr id="0" name=""/>
        <dsp:cNvSpPr/>
      </dsp:nvSpPr>
      <dsp:spPr>
        <a:xfrm>
          <a:off x="5859752" y="8521679"/>
          <a:ext cx="842002" cy="725877"/>
        </a:xfrm>
        <a:custGeom>
          <a:avLst/>
          <a:gdLst/>
          <a:ahLst/>
          <a:cxnLst/>
          <a:rect l="0" t="0" r="0" b="0"/>
          <a:pathLst>
            <a:path>
              <a:moveTo>
                <a:pt x="0" y="0"/>
              </a:moveTo>
              <a:lnTo>
                <a:pt x="0" y="494664"/>
              </a:lnTo>
              <a:lnTo>
                <a:pt x="842002" y="494664"/>
              </a:lnTo>
              <a:lnTo>
                <a:pt x="842002" y="725877"/>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5661ECD-DF69-D142-928A-0D76D3F87296}">
      <dsp:nvSpPr>
        <dsp:cNvPr id="0" name=""/>
        <dsp:cNvSpPr/>
      </dsp:nvSpPr>
      <dsp:spPr>
        <a:xfrm>
          <a:off x="1921543" y="10832423"/>
          <a:ext cx="91440" cy="725877"/>
        </a:xfrm>
        <a:custGeom>
          <a:avLst/>
          <a:gdLst/>
          <a:ahLst/>
          <a:cxnLst/>
          <a:rect l="0" t="0" r="0" b="0"/>
          <a:pathLst>
            <a:path>
              <a:moveTo>
                <a:pt x="45720" y="0"/>
              </a:moveTo>
              <a:lnTo>
                <a:pt x="45720" y="725877"/>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76507F5-3EC0-BF4B-B91C-D7024877CAF5}">
      <dsp:nvSpPr>
        <dsp:cNvPr id="0" name=""/>
        <dsp:cNvSpPr/>
      </dsp:nvSpPr>
      <dsp:spPr>
        <a:xfrm>
          <a:off x="1967263" y="8521679"/>
          <a:ext cx="3892489" cy="725877"/>
        </a:xfrm>
        <a:custGeom>
          <a:avLst/>
          <a:gdLst/>
          <a:ahLst/>
          <a:cxnLst/>
          <a:rect l="0" t="0" r="0" b="0"/>
          <a:pathLst>
            <a:path>
              <a:moveTo>
                <a:pt x="3892489" y="0"/>
              </a:moveTo>
              <a:lnTo>
                <a:pt x="3892489" y="494664"/>
              </a:lnTo>
              <a:lnTo>
                <a:pt x="0" y="494664"/>
              </a:lnTo>
              <a:lnTo>
                <a:pt x="0" y="725877"/>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C6024449-76EB-AE45-A483-20C84E555523}">
      <dsp:nvSpPr>
        <dsp:cNvPr id="0" name=""/>
        <dsp:cNvSpPr/>
      </dsp:nvSpPr>
      <dsp:spPr>
        <a:xfrm>
          <a:off x="5859752" y="6210935"/>
          <a:ext cx="1525243" cy="725877"/>
        </a:xfrm>
        <a:custGeom>
          <a:avLst/>
          <a:gdLst/>
          <a:ahLst/>
          <a:cxnLst/>
          <a:rect l="0" t="0" r="0" b="0"/>
          <a:pathLst>
            <a:path>
              <a:moveTo>
                <a:pt x="1525243" y="0"/>
              </a:moveTo>
              <a:lnTo>
                <a:pt x="1525243" y="494664"/>
              </a:lnTo>
              <a:lnTo>
                <a:pt x="0" y="494664"/>
              </a:lnTo>
              <a:lnTo>
                <a:pt x="0" y="725877"/>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789D0340-A1FD-D249-B71F-AFA3CFB92224}">
      <dsp:nvSpPr>
        <dsp:cNvPr id="0" name=""/>
        <dsp:cNvSpPr/>
      </dsp:nvSpPr>
      <dsp:spPr>
        <a:xfrm>
          <a:off x="7384995" y="3900192"/>
          <a:ext cx="3471487" cy="725877"/>
        </a:xfrm>
        <a:custGeom>
          <a:avLst/>
          <a:gdLst/>
          <a:ahLst/>
          <a:cxnLst/>
          <a:rect l="0" t="0" r="0" b="0"/>
          <a:pathLst>
            <a:path>
              <a:moveTo>
                <a:pt x="3471487" y="0"/>
              </a:moveTo>
              <a:lnTo>
                <a:pt x="3471487" y="494664"/>
              </a:lnTo>
              <a:lnTo>
                <a:pt x="0" y="494664"/>
              </a:lnTo>
              <a:lnTo>
                <a:pt x="0" y="725877"/>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B496F004-25AB-E840-85D2-E92B0B529DCC}">
      <dsp:nvSpPr>
        <dsp:cNvPr id="0" name=""/>
        <dsp:cNvSpPr/>
      </dsp:nvSpPr>
      <dsp:spPr>
        <a:xfrm>
          <a:off x="10856483" y="1589448"/>
          <a:ext cx="4023608" cy="725877"/>
        </a:xfrm>
        <a:custGeom>
          <a:avLst/>
          <a:gdLst/>
          <a:ahLst/>
          <a:cxnLst/>
          <a:rect l="0" t="0" r="0" b="0"/>
          <a:pathLst>
            <a:path>
              <a:moveTo>
                <a:pt x="4023608" y="0"/>
              </a:moveTo>
              <a:lnTo>
                <a:pt x="4023608" y="494664"/>
              </a:lnTo>
              <a:lnTo>
                <a:pt x="0" y="494664"/>
              </a:lnTo>
              <a:lnTo>
                <a:pt x="0" y="725877"/>
              </a:lnTo>
            </a:path>
          </a:pathLst>
        </a:custGeom>
        <a:noFill/>
        <a:ln w="2540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0E8A4AC7-A528-6245-B58B-C57BCA9D2ACF}">
      <dsp:nvSpPr>
        <dsp:cNvPr id="0" name=""/>
        <dsp:cNvSpPr/>
      </dsp:nvSpPr>
      <dsp:spPr>
        <a:xfrm>
          <a:off x="13632165" y="4581"/>
          <a:ext cx="2495852" cy="1584866"/>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925884AF-7E3A-434B-9DC8-A726CF728958}">
      <dsp:nvSpPr>
        <dsp:cNvPr id="0" name=""/>
        <dsp:cNvSpPr/>
      </dsp:nvSpPr>
      <dsp:spPr>
        <a:xfrm>
          <a:off x="13909482" y="268033"/>
          <a:ext cx="2495852" cy="1584866"/>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b="1" kern="1200" dirty="0" smtClean="0">
              <a:solidFill>
                <a:schemeClr val="accent1">
                  <a:lumMod val="50000"/>
                </a:schemeClr>
              </a:solidFill>
              <a:effectLst>
                <a:outerShdw blurRad="50800" dist="38100" dir="2700000" algn="tl" rotWithShape="0">
                  <a:prstClr val="black">
                    <a:alpha val="40000"/>
                  </a:prstClr>
                </a:outerShdw>
              </a:effectLst>
            </a:rPr>
            <a:t>EBITDA</a:t>
          </a:r>
          <a:endParaRPr lang="en-US" sz="2100" b="1" kern="1200" dirty="0">
            <a:solidFill>
              <a:schemeClr val="accent1">
                <a:lumMod val="50000"/>
              </a:schemeClr>
            </a:solidFill>
            <a:effectLst>
              <a:outerShdw blurRad="50800" dist="38100" dir="2700000" algn="tl" rotWithShape="0">
                <a:prstClr val="black">
                  <a:alpha val="40000"/>
                </a:prstClr>
              </a:outerShdw>
            </a:effectLst>
          </a:endParaRPr>
        </a:p>
      </dsp:txBody>
      <dsp:txXfrm>
        <a:off x="13955901" y="314452"/>
        <a:ext cx="2403014" cy="1492028"/>
      </dsp:txXfrm>
    </dsp:sp>
    <dsp:sp modelId="{E2EECA00-B4E4-9C45-B41E-AC20FDDE8AEB}">
      <dsp:nvSpPr>
        <dsp:cNvPr id="0" name=""/>
        <dsp:cNvSpPr/>
      </dsp:nvSpPr>
      <dsp:spPr>
        <a:xfrm>
          <a:off x="9608556" y="2315325"/>
          <a:ext cx="2495852" cy="1584866"/>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67AFA7D4-3275-8D45-A7D7-C969748BDFF7}">
      <dsp:nvSpPr>
        <dsp:cNvPr id="0" name=""/>
        <dsp:cNvSpPr/>
      </dsp:nvSpPr>
      <dsp:spPr>
        <a:xfrm>
          <a:off x="9885873" y="2578776"/>
          <a:ext cx="2495852" cy="1584866"/>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b="1" kern="1200" dirty="0" smtClean="0">
              <a:solidFill>
                <a:schemeClr val="accent1">
                  <a:lumMod val="50000"/>
                </a:schemeClr>
              </a:solidFill>
              <a:effectLst>
                <a:outerShdw blurRad="50800" dist="38100" dir="2700000" algn="tl" rotWithShape="0">
                  <a:prstClr val="black">
                    <a:alpha val="40000"/>
                  </a:prstClr>
                </a:outerShdw>
              </a:effectLst>
            </a:rPr>
            <a:t>Revenue</a:t>
          </a:r>
          <a:endParaRPr lang="en-US" sz="2100" b="1" kern="1200" dirty="0">
            <a:solidFill>
              <a:schemeClr val="accent1">
                <a:lumMod val="50000"/>
              </a:schemeClr>
            </a:solidFill>
            <a:effectLst>
              <a:outerShdw blurRad="50800" dist="38100" dir="2700000" algn="tl" rotWithShape="0">
                <a:prstClr val="black">
                  <a:alpha val="40000"/>
                </a:prstClr>
              </a:outerShdw>
            </a:effectLst>
          </a:endParaRPr>
        </a:p>
      </dsp:txBody>
      <dsp:txXfrm>
        <a:off x="9932292" y="2625195"/>
        <a:ext cx="2403014" cy="1492028"/>
      </dsp:txXfrm>
    </dsp:sp>
    <dsp:sp modelId="{DD645192-9AF5-7044-B0C5-A4131BD01FB3}">
      <dsp:nvSpPr>
        <dsp:cNvPr id="0" name=""/>
        <dsp:cNvSpPr/>
      </dsp:nvSpPr>
      <dsp:spPr>
        <a:xfrm>
          <a:off x="6137069" y="4626069"/>
          <a:ext cx="2495852" cy="1584866"/>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0E1CCE6F-EC87-F347-A32E-C126C906494E}">
      <dsp:nvSpPr>
        <dsp:cNvPr id="0" name=""/>
        <dsp:cNvSpPr/>
      </dsp:nvSpPr>
      <dsp:spPr>
        <a:xfrm>
          <a:off x="6414386" y="4889520"/>
          <a:ext cx="2495852" cy="1584866"/>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b="1" kern="1200" dirty="0" smtClean="0">
              <a:solidFill>
                <a:schemeClr val="accent1">
                  <a:lumMod val="50000"/>
                </a:schemeClr>
              </a:solidFill>
              <a:effectLst>
                <a:outerShdw blurRad="50800" dist="38100" dir="2700000" algn="tl" rotWithShape="0">
                  <a:prstClr val="black">
                    <a:alpha val="40000"/>
                  </a:prstClr>
                </a:outerShdw>
              </a:effectLst>
            </a:rPr>
            <a:t>Revenue Per Visitor</a:t>
          </a:r>
          <a:endParaRPr lang="en-US" sz="2100" b="1" kern="1200" dirty="0">
            <a:solidFill>
              <a:schemeClr val="accent1">
                <a:lumMod val="50000"/>
              </a:schemeClr>
            </a:solidFill>
            <a:effectLst>
              <a:outerShdw blurRad="50800" dist="38100" dir="2700000" algn="tl" rotWithShape="0">
                <a:prstClr val="black">
                  <a:alpha val="40000"/>
                </a:prstClr>
              </a:outerShdw>
            </a:effectLst>
          </a:endParaRPr>
        </a:p>
      </dsp:txBody>
      <dsp:txXfrm>
        <a:off x="6460805" y="4935939"/>
        <a:ext cx="2403014" cy="1492028"/>
      </dsp:txXfrm>
    </dsp:sp>
    <dsp:sp modelId="{A17C5C36-4705-0845-835E-17463B160846}">
      <dsp:nvSpPr>
        <dsp:cNvPr id="0" name=""/>
        <dsp:cNvSpPr/>
      </dsp:nvSpPr>
      <dsp:spPr>
        <a:xfrm>
          <a:off x="4611825" y="6936813"/>
          <a:ext cx="2495852" cy="1584866"/>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9D00CA24-03DA-804B-B981-B9B341CAAAA9}">
      <dsp:nvSpPr>
        <dsp:cNvPr id="0" name=""/>
        <dsp:cNvSpPr/>
      </dsp:nvSpPr>
      <dsp:spPr>
        <a:xfrm>
          <a:off x="4889142" y="7200264"/>
          <a:ext cx="2495852" cy="1584866"/>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b="1" kern="1200" dirty="0" smtClean="0">
              <a:solidFill>
                <a:schemeClr val="accent1">
                  <a:lumMod val="50000"/>
                </a:schemeClr>
              </a:solidFill>
              <a:effectLst>
                <a:outerShdw blurRad="50800" dist="38100" dir="2700000" algn="tl" rotWithShape="0">
                  <a:prstClr val="black">
                    <a:alpha val="40000"/>
                  </a:prstClr>
                </a:outerShdw>
              </a:effectLst>
            </a:rPr>
            <a:t>Average Order Value</a:t>
          </a:r>
          <a:endParaRPr lang="en-US" sz="2100" b="1" kern="1200" dirty="0">
            <a:solidFill>
              <a:schemeClr val="accent1">
                <a:lumMod val="50000"/>
              </a:schemeClr>
            </a:solidFill>
            <a:effectLst>
              <a:outerShdw blurRad="50800" dist="38100" dir="2700000" algn="tl" rotWithShape="0">
                <a:prstClr val="black">
                  <a:alpha val="40000"/>
                </a:prstClr>
              </a:outerShdw>
            </a:effectLst>
          </a:endParaRPr>
        </a:p>
      </dsp:txBody>
      <dsp:txXfrm>
        <a:off x="4935561" y="7246683"/>
        <a:ext cx="2403014" cy="1492028"/>
      </dsp:txXfrm>
    </dsp:sp>
    <dsp:sp modelId="{35427254-1587-2E45-83F6-073984408973}">
      <dsp:nvSpPr>
        <dsp:cNvPr id="0" name=""/>
        <dsp:cNvSpPr/>
      </dsp:nvSpPr>
      <dsp:spPr>
        <a:xfrm>
          <a:off x="719336" y="9247556"/>
          <a:ext cx="2495852" cy="1584866"/>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4FAAF5E5-DA10-6144-B3A8-A3DEBE590789}">
      <dsp:nvSpPr>
        <dsp:cNvPr id="0" name=""/>
        <dsp:cNvSpPr/>
      </dsp:nvSpPr>
      <dsp:spPr>
        <a:xfrm>
          <a:off x="996653" y="9511007"/>
          <a:ext cx="2495852" cy="1584866"/>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b="1" kern="1200" dirty="0" smtClean="0">
              <a:solidFill>
                <a:schemeClr val="accent1">
                  <a:lumMod val="50000"/>
                </a:schemeClr>
              </a:solidFill>
              <a:effectLst>
                <a:outerShdw blurRad="50800" dist="38100" dir="2700000" algn="tl" rotWithShape="0">
                  <a:prstClr val="black">
                    <a:alpha val="40000"/>
                  </a:prstClr>
                </a:outerShdw>
              </a:effectLst>
            </a:rPr>
            <a:t>Per Contract Contribution</a:t>
          </a:r>
          <a:endParaRPr lang="en-US" sz="2100" b="1" kern="1200" dirty="0">
            <a:solidFill>
              <a:schemeClr val="accent1">
                <a:lumMod val="50000"/>
              </a:schemeClr>
            </a:solidFill>
            <a:effectLst>
              <a:outerShdw blurRad="50800" dist="38100" dir="2700000" algn="tl" rotWithShape="0">
                <a:prstClr val="black">
                  <a:alpha val="40000"/>
                </a:prstClr>
              </a:outerShdw>
            </a:effectLst>
          </a:endParaRPr>
        </a:p>
      </dsp:txBody>
      <dsp:txXfrm>
        <a:off x="1043072" y="9557426"/>
        <a:ext cx="2403014" cy="1492028"/>
      </dsp:txXfrm>
    </dsp:sp>
    <dsp:sp modelId="{198B7CCA-BC23-5E43-8481-3E8F59188CF6}">
      <dsp:nvSpPr>
        <dsp:cNvPr id="0" name=""/>
        <dsp:cNvSpPr/>
      </dsp:nvSpPr>
      <dsp:spPr>
        <a:xfrm>
          <a:off x="560575" y="11558300"/>
          <a:ext cx="2813375" cy="1584866"/>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AB0DA436-81BC-584E-AD13-0C28DDB23613}">
      <dsp:nvSpPr>
        <dsp:cNvPr id="0" name=""/>
        <dsp:cNvSpPr/>
      </dsp:nvSpPr>
      <dsp:spPr>
        <a:xfrm>
          <a:off x="837892" y="11821751"/>
          <a:ext cx="2813375" cy="1584866"/>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b="1" kern="1200" dirty="0" smtClean="0">
              <a:solidFill>
                <a:schemeClr val="accent1">
                  <a:lumMod val="50000"/>
                </a:schemeClr>
              </a:solidFill>
              <a:effectLst>
                <a:outerShdw blurRad="50800" dist="38100" dir="2700000" algn="tl" rotWithShape="0">
                  <a:prstClr val="black">
                    <a:alpha val="40000"/>
                  </a:prstClr>
                </a:outerShdw>
              </a:effectLst>
            </a:rPr>
            <a:t>Net Promoter Score:</a:t>
          </a:r>
          <a:br>
            <a:rPr lang="en-US" sz="2100" b="1" kern="1200" dirty="0" smtClean="0">
              <a:solidFill>
                <a:schemeClr val="accent1">
                  <a:lumMod val="50000"/>
                </a:schemeClr>
              </a:solidFill>
              <a:effectLst>
                <a:outerShdw blurRad="50800" dist="38100" dir="2700000" algn="tl" rotWithShape="0">
                  <a:prstClr val="black">
                    <a:alpha val="40000"/>
                  </a:prstClr>
                </a:outerShdw>
              </a:effectLst>
            </a:rPr>
          </a:br>
          <a:r>
            <a:rPr lang="en-US" sz="2100" b="0" kern="1200" dirty="0" smtClean="0">
              <a:solidFill>
                <a:schemeClr val="accent1">
                  <a:lumMod val="50000"/>
                </a:schemeClr>
              </a:solidFill>
              <a:effectLst>
                <a:outerShdw blurRad="50800" dist="38100" dir="2700000" algn="tl" rotWithShape="0">
                  <a:prstClr val="black">
                    <a:alpha val="40000"/>
                  </a:prstClr>
                </a:outerShdw>
              </a:effectLst>
            </a:rPr>
            <a:t>Order success, customer feedback</a:t>
          </a:r>
          <a:endParaRPr lang="en-US" sz="2100" b="0" kern="1200" dirty="0">
            <a:solidFill>
              <a:schemeClr val="accent1">
                <a:lumMod val="50000"/>
              </a:schemeClr>
            </a:solidFill>
            <a:effectLst>
              <a:outerShdw blurRad="50800" dist="38100" dir="2700000" algn="tl" rotWithShape="0">
                <a:prstClr val="black">
                  <a:alpha val="40000"/>
                </a:prstClr>
              </a:outerShdw>
            </a:effectLst>
          </a:endParaRPr>
        </a:p>
      </dsp:txBody>
      <dsp:txXfrm>
        <a:off x="884311" y="11868170"/>
        <a:ext cx="2720537" cy="1492028"/>
      </dsp:txXfrm>
    </dsp:sp>
    <dsp:sp modelId="{59D77A92-A375-BF41-B5DB-29896FA0A695}">
      <dsp:nvSpPr>
        <dsp:cNvPr id="0" name=""/>
        <dsp:cNvSpPr/>
      </dsp:nvSpPr>
      <dsp:spPr>
        <a:xfrm>
          <a:off x="5453828" y="9247556"/>
          <a:ext cx="2495852" cy="1584866"/>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5AD98322-5143-5E4F-9168-F622EE51B6C4}">
      <dsp:nvSpPr>
        <dsp:cNvPr id="0" name=""/>
        <dsp:cNvSpPr/>
      </dsp:nvSpPr>
      <dsp:spPr>
        <a:xfrm>
          <a:off x="5731145" y="9511007"/>
          <a:ext cx="2495852" cy="1584866"/>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b="1" kern="1200" dirty="0" smtClean="0">
              <a:solidFill>
                <a:schemeClr val="accent1">
                  <a:lumMod val="50000"/>
                </a:schemeClr>
              </a:solidFill>
              <a:effectLst>
                <a:outerShdw blurRad="50800" dist="38100" dir="2700000" algn="tl" rotWithShape="0">
                  <a:prstClr val="black">
                    <a:alpha val="40000"/>
                  </a:prstClr>
                </a:outerShdw>
              </a:effectLst>
            </a:rPr>
            <a:t>Upsells:</a:t>
          </a:r>
          <a:br>
            <a:rPr lang="en-US" sz="2100" b="1" kern="1200" dirty="0" smtClean="0">
              <a:solidFill>
                <a:schemeClr val="accent1">
                  <a:lumMod val="50000"/>
                </a:schemeClr>
              </a:solidFill>
              <a:effectLst>
                <a:outerShdw blurRad="50800" dist="38100" dir="2700000" algn="tl" rotWithShape="0">
                  <a:prstClr val="black">
                    <a:alpha val="40000"/>
                  </a:prstClr>
                </a:outerShdw>
              </a:effectLst>
            </a:rPr>
          </a:br>
          <a:r>
            <a:rPr lang="en-US" sz="2100" b="1" kern="1200" dirty="0" smtClean="0">
              <a:solidFill>
                <a:schemeClr val="accent1">
                  <a:lumMod val="50000"/>
                </a:schemeClr>
              </a:solidFill>
              <a:effectLst>
                <a:outerShdw blurRad="50800" dist="38100" dir="2700000" algn="tl" rotWithShape="0">
                  <a:prstClr val="black">
                    <a:alpha val="40000"/>
                  </a:prstClr>
                </a:outerShdw>
              </a:effectLst>
            </a:rPr>
            <a:t/>
          </a:r>
          <a:br>
            <a:rPr lang="en-US" sz="2100" b="1" kern="1200" dirty="0" smtClean="0">
              <a:solidFill>
                <a:schemeClr val="accent1">
                  <a:lumMod val="50000"/>
                </a:schemeClr>
              </a:solidFill>
              <a:effectLst>
                <a:outerShdw blurRad="50800" dist="38100" dir="2700000" algn="tl" rotWithShape="0">
                  <a:prstClr val="black">
                    <a:alpha val="40000"/>
                  </a:prstClr>
                </a:outerShdw>
              </a:effectLst>
            </a:rPr>
          </a:br>
          <a:r>
            <a:rPr lang="en-US" sz="2100" b="1" kern="1200" dirty="0" smtClean="0">
              <a:solidFill>
                <a:schemeClr val="accent1">
                  <a:lumMod val="50000"/>
                </a:schemeClr>
              </a:solidFill>
              <a:effectLst>
                <a:outerShdw blurRad="50800" dist="38100" dir="2700000" algn="tl" rotWithShape="0">
                  <a:prstClr val="black">
                    <a:alpha val="40000"/>
                  </a:prstClr>
                </a:outerShdw>
              </a:effectLst>
            </a:rPr>
            <a:t>+ Attribution LTV</a:t>
          </a:r>
          <a:endParaRPr lang="en-US" sz="2100" b="1" kern="1200" dirty="0">
            <a:solidFill>
              <a:schemeClr val="accent1">
                <a:lumMod val="50000"/>
              </a:schemeClr>
            </a:solidFill>
            <a:effectLst>
              <a:outerShdw blurRad="50800" dist="38100" dir="2700000" algn="tl" rotWithShape="0">
                <a:prstClr val="black">
                  <a:alpha val="40000"/>
                </a:prstClr>
              </a:outerShdw>
            </a:effectLst>
          </a:endParaRPr>
        </a:p>
      </dsp:txBody>
      <dsp:txXfrm>
        <a:off x="5777564" y="9557426"/>
        <a:ext cx="2403014" cy="1492028"/>
      </dsp:txXfrm>
    </dsp:sp>
    <dsp:sp modelId="{5DDF2FD7-606F-444A-B3A9-D5A8DC32EEEA}">
      <dsp:nvSpPr>
        <dsp:cNvPr id="0" name=""/>
        <dsp:cNvSpPr/>
      </dsp:nvSpPr>
      <dsp:spPr>
        <a:xfrm>
          <a:off x="3928584" y="11558300"/>
          <a:ext cx="2495852" cy="1584866"/>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EE995676-1CFC-0043-B160-9FF05CF1B80F}">
      <dsp:nvSpPr>
        <dsp:cNvPr id="0" name=""/>
        <dsp:cNvSpPr/>
      </dsp:nvSpPr>
      <dsp:spPr>
        <a:xfrm>
          <a:off x="4205901" y="11821751"/>
          <a:ext cx="2495852" cy="1584866"/>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b="1" kern="1200" dirty="0" smtClean="0">
              <a:solidFill>
                <a:schemeClr val="accent1">
                  <a:lumMod val="50000"/>
                </a:schemeClr>
              </a:solidFill>
              <a:effectLst>
                <a:outerShdw blurRad="50800" dist="38100" dir="2700000" algn="tl" rotWithShape="0">
                  <a:prstClr val="black">
                    <a:alpha val="40000"/>
                  </a:prstClr>
                </a:outerShdw>
              </a:effectLst>
            </a:rPr>
            <a:t>Product Availability</a:t>
          </a:r>
          <a:endParaRPr lang="en-US" sz="2100" b="1" kern="1200" dirty="0">
            <a:solidFill>
              <a:schemeClr val="accent1">
                <a:lumMod val="50000"/>
              </a:schemeClr>
            </a:solidFill>
            <a:effectLst>
              <a:outerShdw blurRad="50800" dist="38100" dir="2700000" algn="tl" rotWithShape="0">
                <a:prstClr val="black">
                  <a:alpha val="40000"/>
                </a:prstClr>
              </a:outerShdw>
            </a:effectLst>
          </a:endParaRPr>
        </a:p>
      </dsp:txBody>
      <dsp:txXfrm>
        <a:off x="4252320" y="11868170"/>
        <a:ext cx="2403014" cy="1492028"/>
      </dsp:txXfrm>
    </dsp:sp>
    <dsp:sp modelId="{138C990C-E169-204E-9734-F5A4F5D350AC}">
      <dsp:nvSpPr>
        <dsp:cNvPr id="0" name=""/>
        <dsp:cNvSpPr/>
      </dsp:nvSpPr>
      <dsp:spPr>
        <a:xfrm>
          <a:off x="6979071" y="11558300"/>
          <a:ext cx="2495852" cy="1584866"/>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BF5EB84A-A376-CC48-80A8-02D921FA679D}">
      <dsp:nvSpPr>
        <dsp:cNvPr id="0" name=""/>
        <dsp:cNvSpPr/>
      </dsp:nvSpPr>
      <dsp:spPr>
        <a:xfrm>
          <a:off x="7256388" y="11821751"/>
          <a:ext cx="2495852" cy="1584866"/>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b="1" kern="1200" dirty="0" smtClean="0">
              <a:solidFill>
                <a:schemeClr val="accent1">
                  <a:lumMod val="50000"/>
                </a:schemeClr>
              </a:solidFill>
              <a:effectLst>
                <a:outerShdw blurRad="50800" dist="38100" dir="2700000" algn="tl" rotWithShape="0">
                  <a:prstClr val="black">
                    <a:alpha val="40000"/>
                  </a:prstClr>
                </a:outerShdw>
              </a:effectLst>
            </a:rPr>
            <a:t>Customer Type</a:t>
          </a:r>
          <a:endParaRPr lang="en-US" sz="2100" b="1" kern="1200" dirty="0">
            <a:solidFill>
              <a:schemeClr val="accent1">
                <a:lumMod val="50000"/>
              </a:schemeClr>
            </a:solidFill>
            <a:effectLst>
              <a:outerShdw blurRad="50800" dist="38100" dir="2700000" algn="tl" rotWithShape="0">
                <a:prstClr val="black">
                  <a:alpha val="40000"/>
                </a:prstClr>
              </a:outerShdw>
            </a:effectLst>
          </a:endParaRPr>
        </a:p>
      </dsp:txBody>
      <dsp:txXfrm>
        <a:off x="7302807" y="11868170"/>
        <a:ext cx="2403014" cy="1492028"/>
      </dsp:txXfrm>
    </dsp:sp>
    <dsp:sp modelId="{88C28D3B-C0E4-DD43-9A7C-DF7D40D592B1}">
      <dsp:nvSpPr>
        <dsp:cNvPr id="0" name=""/>
        <dsp:cNvSpPr/>
      </dsp:nvSpPr>
      <dsp:spPr>
        <a:xfrm>
          <a:off x="8504314" y="9247556"/>
          <a:ext cx="2495852" cy="1584866"/>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0B265071-9F45-8749-8527-68F0D6A02E86}">
      <dsp:nvSpPr>
        <dsp:cNvPr id="0" name=""/>
        <dsp:cNvSpPr/>
      </dsp:nvSpPr>
      <dsp:spPr>
        <a:xfrm>
          <a:off x="8781631" y="9511007"/>
          <a:ext cx="2495852" cy="1584866"/>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b="1" kern="1200" dirty="0" smtClean="0">
              <a:solidFill>
                <a:schemeClr val="accent1">
                  <a:lumMod val="50000"/>
                </a:schemeClr>
              </a:solidFill>
              <a:effectLst>
                <a:outerShdw blurRad="50800" dist="38100" dir="2700000" algn="tl" rotWithShape="0">
                  <a:prstClr val="black">
                    <a:alpha val="40000"/>
                  </a:prstClr>
                </a:outerShdw>
              </a:effectLst>
            </a:rPr>
            <a:t>- Affiliate Commissions</a:t>
          </a:r>
          <a:endParaRPr lang="en-US" sz="2100" b="1" kern="1200" dirty="0">
            <a:solidFill>
              <a:schemeClr val="accent1">
                <a:lumMod val="50000"/>
              </a:schemeClr>
            </a:solidFill>
            <a:effectLst>
              <a:outerShdw blurRad="50800" dist="38100" dir="2700000" algn="tl" rotWithShape="0">
                <a:prstClr val="black">
                  <a:alpha val="40000"/>
                </a:prstClr>
              </a:outerShdw>
            </a:effectLst>
          </a:endParaRPr>
        </a:p>
      </dsp:txBody>
      <dsp:txXfrm>
        <a:off x="8828050" y="9557426"/>
        <a:ext cx="2403014" cy="1492028"/>
      </dsp:txXfrm>
    </dsp:sp>
    <dsp:sp modelId="{2307A037-36A2-C74F-B0E1-CDB4427BE35F}">
      <dsp:nvSpPr>
        <dsp:cNvPr id="0" name=""/>
        <dsp:cNvSpPr/>
      </dsp:nvSpPr>
      <dsp:spPr>
        <a:xfrm>
          <a:off x="7662312" y="6936813"/>
          <a:ext cx="2495852" cy="1584866"/>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7D6F7D0E-B01E-FB42-A3BD-6818AFA2FB03}">
      <dsp:nvSpPr>
        <dsp:cNvPr id="0" name=""/>
        <dsp:cNvSpPr/>
      </dsp:nvSpPr>
      <dsp:spPr>
        <a:xfrm>
          <a:off x="7939629" y="7200264"/>
          <a:ext cx="2495852" cy="1584866"/>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b="1" kern="1200" dirty="0" smtClean="0">
              <a:solidFill>
                <a:schemeClr val="accent1">
                  <a:lumMod val="50000"/>
                </a:schemeClr>
              </a:solidFill>
              <a:effectLst>
                <a:outerShdw blurRad="50800" dist="38100" dir="2700000" algn="tl" rotWithShape="0">
                  <a:prstClr val="black">
                    <a:alpha val="40000"/>
                  </a:prstClr>
                </a:outerShdw>
              </a:effectLst>
            </a:rPr>
            <a:t>Conversion Rate</a:t>
          </a:r>
          <a:endParaRPr lang="en-US" sz="2100" b="1" kern="1200" dirty="0">
            <a:solidFill>
              <a:schemeClr val="accent1">
                <a:lumMod val="50000"/>
              </a:schemeClr>
            </a:solidFill>
            <a:effectLst>
              <a:outerShdw blurRad="50800" dist="38100" dir="2700000" algn="tl" rotWithShape="0">
                <a:prstClr val="black">
                  <a:alpha val="40000"/>
                </a:prstClr>
              </a:outerShdw>
            </a:effectLst>
          </a:endParaRPr>
        </a:p>
      </dsp:txBody>
      <dsp:txXfrm>
        <a:off x="7986048" y="7246683"/>
        <a:ext cx="2403014" cy="1492028"/>
      </dsp:txXfrm>
    </dsp:sp>
    <dsp:sp modelId="{3EA70A61-6F59-D944-AFEC-31FD3879AAA5}">
      <dsp:nvSpPr>
        <dsp:cNvPr id="0" name=""/>
        <dsp:cNvSpPr/>
      </dsp:nvSpPr>
      <dsp:spPr>
        <a:xfrm>
          <a:off x="13080044" y="4626069"/>
          <a:ext cx="2495852" cy="1584866"/>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4C47A863-2038-DA40-9C8F-47D0AA28645C}">
      <dsp:nvSpPr>
        <dsp:cNvPr id="0" name=""/>
        <dsp:cNvSpPr/>
      </dsp:nvSpPr>
      <dsp:spPr>
        <a:xfrm>
          <a:off x="13357361" y="4889520"/>
          <a:ext cx="2495852" cy="1584866"/>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b="1" kern="1200" dirty="0" smtClean="0">
              <a:solidFill>
                <a:schemeClr val="accent1">
                  <a:lumMod val="50000"/>
                </a:schemeClr>
              </a:solidFill>
              <a:effectLst>
                <a:outerShdw blurRad="50800" dist="38100" dir="2700000" algn="tl" rotWithShape="0">
                  <a:prstClr val="black">
                    <a:alpha val="40000"/>
                  </a:prstClr>
                </a:outerShdw>
              </a:effectLst>
            </a:rPr>
            <a:t>Visitors</a:t>
          </a:r>
          <a:endParaRPr lang="en-US" sz="2100" b="1" kern="1200" dirty="0">
            <a:solidFill>
              <a:schemeClr val="accent1">
                <a:lumMod val="50000"/>
              </a:schemeClr>
            </a:solidFill>
            <a:effectLst>
              <a:outerShdw blurRad="50800" dist="38100" dir="2700000" algn="tl" rotWithShape="0">
                <a:prstClr val="black">
                  <a:alpha val="40000"/>
                </a:prstClr>
              </a:outerShdw>
            </a:effectLst>
          </a:endParaRPr>
        </a:p>
      </dsp:txBody>
      <dsp:txXfrm>
        <a:off x="13403780" y="4935939"/>
        <a:ext cx="2403014" cy="1492028"/>
      </dsp:txXfrm>
    </dsp:sp>
    <dsp:sp modelId="{FFCD7AC3-EC92-7A4C-B100-EC7A762A97BB}">
      <dsp:nvSpPr>
        <dsp:cNvPr id="0" name=""/>
        <dsp:cNvSpPr/>
      </dsp:nvSpPr>
      <dsp:spPr>
        <a:xfrm>
          <a:off x="11554801" y="6936813"/>
          <a:ext cx="2495852" cy="1584866"/>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A5A8B805-CFB0-1540-8140-7B65BF7B6D05}">
      <dsp:nvSpPr>
        <dsp:cNvPr id="0" name=""/>
        <dsp:cNvSpPr/>
      </dsp:nvSpPr>
      <dsp:spPr>
        <a:xfrm>
          <a:off x="11832118" y="7200264"/>
          <a:ext cx="2495852" cy="1584866"/>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b="1" kern="1200" dirty="0" smtClean="0">
              <a:solidFill>
                <a:schemeClr val="accent1">
                  <a:lumMod val="50000"/>
                </a:schemeClr>
              </a:solidFill>
              <a:effectLst>
                <a:outerShdw blurRad="50800" dist="38100" dir="2700000" algn="tl" rotWithShape="0">
                  <a:prstClr val="black">
                    <a:alpha val="40000"/>
                  </a:prstClr>
                </a:outerShdw>
              </a:effectLst>
            </a:rPr>
            <a:t>User Acquisition</a:t>
          </a:r>
          <a:endParaRPr lang="en-US" sz="2100" b="1" kern="1200" dirty="0">
            <a:solidFill>
              <a:schemeClr val="accent1">
                <a:lumMod val="50000"/>
              </a:schemeClr>
            </a:solidFill>
            <a:effectLst>
              <a:outerShdw blurRad="50800" dist="38100" dir="2700000" algn="tl" rotWithShape="0">
                <a:prstClr val="black">
                  <a:alpha val="40000"/>
                </a:prstClr>
              </a:outerShdw>
            </a:effectLst>
          </a:endParaRPr>
        </a:p>
      </dsp:txBody>
      <dsp:txXfrm>
        <a:off x="11878537" y="7246683"/>
        <a:ext cx="2403014" cy="1492028"/>
      </dsp:txXfrm>
    </dsp:sp>
    <dsp:sp modelId="{42654FFB-2B2D-0E4F-A063-E7D6D73B053C}">
      <dsp:nvSpPr>
        <dsp:cNvPr id="0" name=""/>
        <dsp:cNvSpPr/>
      </dsp:nvSpPr>
      <dsp:spPr>
        <a:xfrm>
          <a:off x="11554801" y="9247556"/>
          <a:ext cx="2495852" cy="1584866"/>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0D72A037-2733-4947-BB71-974F6546DC1B}">
      <dsp:nvSpPr>
        <dsp:cNvPr id="0" name=""/>
        <dsp:cNvSpPr/>
      </dsp:nvSpPr>
      <dsp:spPr>
        <a:xfrm>
          <a:off x="11832118" y="9511007"/>
          <a:ext cx="2495852" cy="1584866"/>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b="1" kern="1200" dirty="0" smtClean="0">
              <a:solidFill>
                <a:schemeClr val="accent1">
                  <a:lumMod val="50000"/>
                </a:schemeClr>
              </a:solidFill>
              <a:effectLst>
                <a:outerShdw blurRad="50800" dist="38100" dir="2700000" algn="tl" rotWithShape="0">
                  <a:prstClr val="black">
                    <a:alpha val="40000"/>
                  </a:prstClr>
                </a:outerShdw>
              </a:effectLst>
            </a:rPr>
            <a:t>Landing Page Optimization</a:t>
          </a:r>
          <a:endParaRPr lang="en-US" sz="2100" b="1" kern="1200" dirty="0">
            <a:solidFill>
              <a:schemeClr val="accent1">
                <a:lumMod val="50000"/>
              </a:schemeClr>
            </a:solidFill>
            <a:effectLst>
              <a:outerShdw blurRad="50800" dist="38100" dir="2700000" algn="tl" rotWithShape="0">
                <a:prstClr val="black">
                  <a:alpha val="40000"/>
                </a:prstClr>
              </a:outerShdw>
            </a:effectLst>
          </a:endParaRPr>
        </a:p>
      </dsp:txBody>
      <dsp:txXfrm>
        <a:off x="11878537" y="9557426"/>
        <a:ext cx="2403014" cy="1492028"/>
      </dsp:txXfrm>
    </dsp:sp>
    <dsp:sp modelId="{543187C5-C956-B148-91E3-051DF6B8A586}">
      <dsp:nvSpPr>
        <dsp:cNvPr id="0" name=""/>
        <dsp:cNvSpPr/>
      </dsp:nvSpPr>
      <dsp:spPr>
        <a:xfrm>
          <a:off x="14605288" y="6936813"/>
          <a:ext cx="2495852" cy="1584866"/>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662D4094-9DF5-FD4B-ADE8-58F40FCB0917}">
      <dsp:nvSpPr>
        <dsp:cNvPr id="0" name=""/>
        <dsp:cNvSpPr/>
      </dsp:nvSpPr>
      <dsp:spPr>
        <a:xfrm>
          <a:off x="14882605" y="7200264"/>
          <a:ext cx="2495852" cy="1584866"/>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b="1" kern="1200" dirty="0" smtClean="0">
              <a:solidFill>
                <a:schemeClr val="accent1">
                  <a:lumMod val="50000"/>
                </a:schemeClr>
              </a:solidFill>
              <a:effectLst>
                <a:outerShdw blurRad="50800" dist="38100" dir="2700000" algn="tl" rotWithShape="0">
                  <a:prstClr val="black">
                    <a:alpha val="40000"/>
                  </a:prstClr>
                </a:outerShdw>
              </a:effectLst>
            </a:rPr>
            <a:t>Retention</a:t>
          </a:r>
          <a:endParaRPr lang="en-US" sz="2100" b="1" kern="1200" dirty="0">
            <a:solidFill>
              <a:schemeClr val="accent1">
                <a:lumMod val="50000"/>
              </a:schemeClr>
            </a:solidFill>
            <a:effectLst>
              <a:outerShdw blurRad="50800" dist="38100" dir="2700000" algn="tl" rotWithShape="0">
                <a:prstClr val="black">
                  <a:alpha val="40000"/>
                </a:prstClr>
              </a:outerShdw>
            </a:effectLst>
          </a:endParaRPr>
        </a:p>
      </dsp:txBody>
      <dsp:txXfrm>
        <a:off x="14929024" y="7246683"/>
        <a:ext cx="2403014" cy="1492028"/>
      </dsp:txXfrm>
    </dsp:sp>
    <dsp:sp modelId="{1A8DDA09-9DE4-CB4A-94F7-4CCB751D0D33}">
      <dsp:nvSpPr>
        <dsp:cNvPr id="0" name=""/>
        <dsp:cNvSpPr/>
      </dsp:nvSpPr>
      <dsp:spPr>
        <a:xfrm>
          <a:off x="17655774" y="2315325"/>
          <a:ext cx="2495852" cy="1584866"/>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1EF0ACD0-581A-BB46-BB30-4DECC200D043}">
      <dsp:nvSpPr>
        <dsp:cNvPr id="0" name=""/>
        <dsp:cNvSpPr/>
      </dsp:nvSpPr>
      <dsp:spPr>
        <a:xfrm>
          <a:off x="17933091" y="2578776"/>
          <a:ext cx="2495852" cy="1584866"/>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b="1" kern="1200" dirty="0" smtClean="0">
              <a:solidFill>
                <a:schemeClr val="accent1">
                  <a:lumMod val="50000"/>
                </a:schemeClr>
              </a:solidFill>
              <a:effectLst>
                <a:outerShdw blurRad="50800" dist="38100" dir="2700000" algn="tl" rotWithShape="0">
                  <a:prstClr val="black">
                    <a:alpha val="40000"/>
                  </a:prstClr>
                </a:outerShdw>
              </a:effectLst>
            </a:rPr>
            <a:t>EBITDA %</a:t>
          </a:r>
          <a:endParaRPr lang="en-US" sz="2100" b="1" kern="1200" dirty="0">
            <a:solidFill>
              <a:schemeClr val="accent1">
                <a:lumMod val="50000"/>
              </a:schemeClr>
            </a:solidFill>
            <a:effectLst>
              <a:outerShdw blurRad="50800" dist="38100" dir="2700000" algn="tl" rotWithShape="0">
                <a:prstClr val="black">
                  <a:alpha val="40000"/>
                </a:prstClr>
              </a:outerShdw>
            </a:effectLst>
          </a:endParaRPr>
        </a:p>
      </dsp:txBody>
      <dsp:txXfrm>
        <a:off x="17979510" y="2625195"/>
        <a:ext cx="2403014" cy="1492028"/>
      </dsp:txXfrm>
    </dsp:sp>
    <dsp:sp modelId="{C1E2054E-D4E5-4642-AFA9-522AA906DAE6}">
      <dsp:nvSpPr>
        <dsp:cNvPr id="0" name=""/>
        <dsp:cNvSpPr/>
      </dsp:nvSpPr>
      <dsp:spPr>
        <a:xfrm>
          <a:off x="16130531" y="4626069"/>
          <a:ext cx="2495852" cy="1584866"/>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ADA07F2A-559E-0E48-85E9-8060E81AFA96}">
      <dsp:nvSpPr>
        <dsp:cNvPr id="0" name=""/>
        <dsp:cNvSpPr/>
      </dsp:nvSpPr>
      <dsp:spPr>
        <a:xfrm>
          <a:off x="16407848" y="4889520"/>
          <a:ext cx="2495852" cy="1584866"/>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b="1" kern="1200" dirty="0" smtClean="0">
              <a:solidFill>
                <a:schemeClr val="accent1">
                  <a:lumMod val="50000"/>
                </a:schemeClr>
              </a:solidFill>
              <a:effectLst>
                <a:outerShdw blurRad="50800" dist="38100" dir="2700000" algn="tl" rotWithShape="0">
                  <a:prstClr val="black">
                    <a:alpha val="40000"/>
                  </a:prstClr>
                </a:outerShdw>
              </a:effectLst>
            </a:rPr>
            <a:t>Fixed Costs</a:t>
          </a:r>
          <a:endParaRPr lang="en-US" sz="2100" b="1" kern="1200" dirty="0">
            <a:solidFill>
              <a:schemeClr val="accent1">
                <a:lumMod val="50000"/>
              </a:schemeClr>
            </a:solidFill>
            <a:effectLst>
              <a:outerShdw blurRad="50800" dist="38100" dir="2700000" algn="tl" rotWithShape="0">
                <a:prstClr val="black">
                  <a:alpha val="40000"/>
                </a:prstClr>
              </a:outerShdw>
            </a:effectLst>
          </a:endParaRPr>
        </a:p>
      </dsp:txBody>
      <dsp:txXfrm>
        <a:off x="16454267" y="4935939"/>
        <a:ext cx="2403014" cy="1492028"/>
      </dsp:txXfrm>
    </dsp:sp>
    <dsp:sp modelId="{4420C44E-8A93-E64C-9897-2D18FB8D5573}">
      <dsp:nvSpPr>
        <dsp:cNvPr id="0" name=""/>
        <dsp:cNvSpPr/>
      </dsp:nvSpPr>
      <dsp:spPr>
        <a:xfrm>
          <a:off x="19181018" y="4626069"/>
          <a:ext cx="2495852" cy="1584866"/>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29FCCA85-D073-1B4C-A53E-7F466834416F}">
      <dsp:nvSpPr>
        <dsp:cNvPr id="0" name=""/>
        <dsp:cNvSpPr/>
      </dsp:nvSpPr>
      <dsp:spPr>
        <a:xfrm>
          <a:off x="19458335" y="4889520"/>
          <a:ext cx="2495852" cy="1584866"/>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b="1" kern="1200" dirty="0" smtClean="0">
              <a:solidFill>
                <a:schemeClr val="accent1">
                  <a:lumMod val="50000"/>
                </a:schemeClr>
              </a:solidFill>
              <a:effectLst>
                <a:outerShdw blurRad="50800" dist="38100" dir="2700000" algn="tl" rotWithShape="0">
                  <a:prstClr val="black">
                    <a:alpha val="40000"/>
                  </a:prstClr>
                </a:outerShdw>
              </a:effectLst>
            </a:rPr>
            <a:t>Variable Costs</a:t>
          </a:r>
          <a:endParaRPr lang="en-US" sz="2100" b="1" kern="1200" dirty="0">
            <a:solidFill>
              <a:schemeClr val="accent1">
                <a:lumMod val="50000"/>
              </a:schemeClr>
            </a:solidFill>
            <a:effectLst>
              <a:outerShdw blurRad="50800" dist="38100" dir="2700000" algn="tl" rotWithShape="0">
                <a:prstClr val="black">
                  <a:alpha val="40000"/>
                </a:prstClr>
              </a:outerShdw>
            </a:effectLst>
          </a:endParaRPr>
        </a:p>
      </dsp:txBody>
      <dsp:txXfrm>
        <a:off x="19504754" y="4935939"/>
        <a:ext cx="2403014" cy="1492028"/>
      </dsp:txXfrm>
    </dsp:sp>
    <dsp:sp modelId="{AC97531D-C695-DE4C-9346-9E3F6F79ECCD}">
      <dsp:nvSpPr>
        <dsp:cNvPr id="0" name=""/>
        <dsp:cNvSpPr/>
      </dsp:nvSpPr>
      <dsp:spPr>
        <a:xfrm>
          <a:off x="17655774" y="6936813"/>
          <a:ext cx="2495852" cy="1584866"/>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18BA5404-8A4C-0543-8495-BE6F0EDB2D38}">
      <dsp:nvSpPr>
        <dsp:cNvPr id="0" name=""/>
        <dsp:cNvSpPr/>
      </dsp:nvSpPr>
      <dsp:spPr>
        <a:xfrm>
          <a:off x="17933091" y="7200264"/>
          <a:ext cx="2495852" cy="1584866"/>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b="1" kern="1200" dirty="0" smtClean="0">
              <a:solidFill>
                <a:schemeClr val="accent1">
                  <a:lumMod val="50000"/>
                </a:schemeClr>
              </a:solidFill>
              <a:effectLst>
                <a:outerShdw blurRad="50800" dist="38100" dir="2700000" algn="tl" rotWithShape="0">
                  <a:prstClr val="black">
                    <a:alpha val="40000"/>
                  </a:prstClr>
                </a:outerShdw>
              </a:effectLst>
            </a:rPr>
            <a:t>User Acquisition</a:t>
          </a:r>
          <a:endParaRPr lang="en-US" sz="2100" b="1" kern="1200" dirty="0">
            <a:solidFill>
              <a:schemeClr val="accent1">
                <a:lumMod val="50000"/>
              </a:schemeClr>
            </a:solidFill>
            <a:effectLst>
              <a:outerShdw blurRad="50800" dist="38100" dir="2700000" algn="tl" rotWithShape="0">
                <a:prstClr val="black">
                  <a:alpha val="40000"/>
                </a:prstClr>
              </a:outerShdw>
            </a:effectLst>
          </a:endParaRPr>
        </a:p>
      </dsp:txBody>
      <dsp:txXfrm>
        <a:off x="17979510" y="7246683"/>
        <a:ext cx="2403014" cy="1492028"/>
      </dsp:txXfrm>
    </dsp:sp>
    <dsp:sp modelId="{70B7711F-9386-FA42-A4C1-EC40FEFABB71}">
      <dsp:nvSpPr>
        <dsp:cNvPr id="0" name=""/>
        <dsp:cNvSpPr/>
      </dsp:nvSpPr>
      <dsp:spPr>
        <a:xfrm>
          <a:off x="17655774" y="9247556"/>
          <a:ext cx="2495852" cy="1584866"/>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9A78DE0A-1719-854E-A3E1-0CC35416E45B}">
      <dsp:nvSpPr>
        <dsp:cNvPr id="0" name=""/>
        <dsp:cNvSpPr/>
      </dsp:nvSpPr>
      <dsp:spPr>
        <a:xfrm>
          <a:off x="17933091" y="9511007"/>
          <a:ext cx="2495852" cy="1584866"/>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b="1" kern="1200" dirty="0" smtClean="0">
              <a:solidFill>
                <a:schemeClr val="accent1">
                  <a:lumMod val="50000"/>
                </a:schemeClr>
              </a:solidFill>
              <a:effectLst>
                <a:outerShdw blurRad="50800" dist="38100" dir="2700000" algn="tl" rotWithShape="0">
                  <a:prstClr val="black">
                    <a:alpha val="40000"/>
                  </a:prstClr>
                </a:outerShdw>
              </a:effectLst>
            </a:rPr>
            <a:t>Marketing</a:t>
          </a:r>
          <a:endParaRPr lang="en-US" sz="2100" b="1" kern="1200" dirty="0">
            <a:solidFill>
              <a:schemeClr val="accent1">
                <a:lumMod val="50000"/>
              </a:schemeClr>
            </a:solidFill>
            <a:effectLst>
              <a:outerShdw blurRad="50800" dist="38100" dir="2700000" algn="tl" rotWithShape="0">
                <a:prstClr val="black">
                  <a:alpha val="40000"/>
                </a:prstClr>
              </a:outerShdw>
            </a:effectLst>
          </a:endParaRPr>
        </a:p>
      </dsp:txBody>
      <dsp:txXfrm>
        <a:off x="17979510" y="9557426"/>
        <a:ext cx="2403014" cy="1492028"/>
      </dsp:txXfrm>
    </dsp:sp>
    <dsp:sp modelId="{7FE344C9-2CCE-4944-8EE7-A903E86E2CED}">
      <dsp:nvSpPr>
        <dsp:cNvPr id="0" name=""/>
        <dsp:cNvSpPr/>
      </dsp:nvSpPr>
      <dsp:spPr>
        <a:xfrm>
          <a:off x="20706261" y="6936813"/>
          <a:ext cx="2495852" cy="1584866"/>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28AF21C4-4B38-DA41-8F77-F470671682DF}">
      <dsp:nvSpPr>
        <dsp:cNvPr id="0" name=""/>
        <dsp:cNvSpPr/>
      </dsp:nvSpPr>
      <dsp:spPr>
        <a:xfrm>
          <a:off x="20983578" y="7200264"/>
          <a:ext cx="2495852" cy="1584866"/>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b="1" kern="1200" dirty="0" smtClean="0">
              <a:solidFill>
                <a:schemeClr val="accent1">
                  <a:lumMod val="50000"/>
                </a:schemeClr>
              </a:solidFill>
              <a:effectLst>
                <a:outerShdw blurRad="50800" dist="38100" dir="2700000" algn="tl" rotWithShape="0">
                  <a:prstClr val="black">
                    <a:alpha val="40000"/>
                  </a:prstClr>
                </a:outerShdw>
              </a:effectLst>
            </a:rPr>
            <a:t>Cost of Goods Sold</a:t>
          </a:r>
          <a:endParaRPr lang="en-US" sz="2100" b="1" kern="1200" dirty="0">
            <a:solidFill>
              <a:schemeClr val="accent1">
                <a:lumMod val="50000"/>
              </a:schemeClr>
            </a:solidFill>
            <a:effectLst>
              <a:outerShdw blurRad="50800" dist="38100" dir="2700000" algn="tl" rotWithShape="0">
                <a:prstClr val="black">
                  <a:alpha val="40000"/>
                </a:prstClr>
              </a:outerShdw>
            </a:effectLst>
          </a:endParaRPr>
        </a:p>
      </dsp:txBody>
      <dsp:txXfrm>
        <a:off x="21029997" y="7246683"/>
        <a:ext cx="2403014" cy="1492028"/>
      </dsp:txXfrm>
    </dsp:sp>
    <dsp:sp modelId="{0375F6D6-41DE-E742-BC2D-20958EEB1770}">
      <dsp:nvSpPr>
        <dsp:cNvPr id="0" name=""/>
        <dsp:cNvSpPr/>
      </dsp:nvSpPr>
      <dsp:spPr>
        <a:xfrm>
          <a:off x="20706261" y="9247556"/>
          <a:ext cx="2495852" cy="1584866"/>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147C7781-3C40-BA4D-8B11-34669AC2B9B7}">
      <dsp:nvSpPr>
        <dsp:cNvPr id="0" name=""/>
        <dsp:cNvSpPr/>
      </dsp:nvSpPr>
      <dsp:spPr>
        <a:xfrm>
          <a:off x="20983578" y="9511007"/>
          <a:ext cx="2495852" cy="1584866"/>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b="1" kern="1200" dirty="0" smtClean="0">
              <a:solidFill>
                <a:schemeClr val="accent1">
                  <a:lumMod val="50000"/>
                </a:schemeClr>
              </a:solidFill>
              <a:effectLst>
                <a:outerShdw blurRad="50800" dist="38100" dir="2700000" algn="tl" rotWithShape="0">
                  <a:prstClr val="black">
                    <a:alpha val="40000"/>
                  </a:prstClr>
                </a:outerShdw>
              </a:effectLst>
            </a:rPr>
            <a:t>Mix of sales</a:t>
          </a:r>
          <a:endParaRPr lang="en-US" sz="2100" b="1" kern="1200" dirty="0">
            <a:solidFill>
              <a:schemeClr val="accent1">
                <a:lumMod val="50000"/>
              </a:schemeClr>
            </a:solidFill>
            <a:effectLst>
              <a:outerShdw blurRad="50800" dist="38100" dir="2700000" algn="tl" rotWithShape="0">
                <a:prstClr val="black">
                  <a:alpha val="40000"/>
                </a:prstClr>
              </a:outerShdw>
            </a:effectLst>
          </a:endParaRPr>
        </a:p>
      </dsp:txBody>
      <dsp:txXfrm>
        <a:off x="21029997" y="9557426"/>
        <a:ext cx="2403014" cy="149202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3843B2-AB90-1349-8363-507B166BBE58}">
      <dsp:nvSpPr>
        <dsp:cNvPr id="0" name=""/>
        <dsp:cNvSpPr/>
      </dsp:nvSpPr>
      <dsp:spPr>
        <a:xfrm>
          <a:off x="16691253" y="7765528"/>
          <a:ext cx="4893690" cy="1164475"/>
        </a:xfrm>
        <a:custGeom>
          <a:avLst/>
          <a:gdLst/>
          <a:ahLst/>
          <a:cxnLst/>
          <a:rect l="0" t="0" r="0" b="0"/>
          <a:pathLst>
            <a:path>
              <a:moveTo>
                <a:pt x="0" y="0"/>
              </a:moveTo>
              <a:lnTo>
                <a:pt x="0" y="793556"/>
              </a:lnTo>
              <a:lnTo>
                <a:pt x="4893690" y="793556"/>
              </a:lnTo>
              <a:lnTo>
                <a:pt x="4893690" y="1164475"/>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EB5AB1D4-61A4-2141-B165-05D7E1B77017}">
      <dsp:nvSpPr>
        <dsp:cNvPr id="0" name=""/>
        <dsp:cNvSpPr/>
      </dsp:nvSpPr>
      <dsp:spPr>
        <a:xfrm>
          <a:off x="16645533" y="7765528"/>
          <a:ext cx="91440" cy="1164475"/>
        </a:xfrm>
        <a:custGeom>
          <a:avLst/>
          <a:gdLst/>
          <a:ahLst/>
          <a:cxnLst/>
          <a:rect l="0" t="0" r="0" b="0"/>
          <a:pathLst>
            <a:path>
              <a:moveTo>
                <a:pt x="45720" y="0"/>
              </a:moveTo>
              <a:lnTo>
                <a:pt x="45720" y="1164475"/>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F0000284-7B4F-904D-82CB-9995F076D4C7}">
      <dsp:nvSpPr>
        <dsp:cNvPr id="0" name=""/>
        <dsp:cNvSpPr/>
      </dsp:nvSpPr>
      <dsp:spPr>
        <a:xfrm>
          <a:off x="11797563" y="7765528"/>
          <a:ext cx="4893690" cy="1164475"/>
        </a:xfrm>
        <a:custGeom>
          <a:avLst/>
          <a:gdLst/>
          <a:ahLst/>
          <a:cxnLst/>
          <a:rect l="0" t="0" r="0" b="0"/>
          <a:pathLst>
            <a:path>
              <a:moveTo>
                <a:pt x="4893690" y="0"/>
              </a:moveTo>
              <a:lnTo>
                <a:pt x="4893690" y="793556"/>
              </a:lnTo>
              <a:lnTo>
                <a:pt x="0" y="793556"/>
              </a:lnTo>
              <a:lnTo>
                <a:pt x="0" y="1164475"/>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CA67D14E-1714-BC42-8176-F080A0F6E19C}">
      <dsp:nvSpPr>
        <dsp:cNvPr id="0" name=""/>
        <dsp:cNvSpPr/>
      </dsp:nvSpPr>
      <dsp:spPr>
        <a:xfrm>
          <a:off x="10574140" y="4058558"/>
          <a:ext cx="6117113" cy="1164475"/>
        </a:xfrm>
        <a:custGeom>
          <a:avLst/>
          <a:gdLst/>
          <a:ahLst/>
          <a:cxnLst/>
          <a:rect l="0" t="0" r="0" b="0"/>
          <a:pathLst>
            <a:path>
              <a:moveTo>
                <a:pt x="0" y="0"/>
              </a:moveTo>
              <a:lnTo>
                <a:pt x="0" y="793556"/>
              </a:lnTo>
              <a:lnTo>
                <a:pt x="6117113" y="793556"/>
              </a:lnTo>
              <a:lnTo>
                <a:pt x="6117113" y="1164475"/>
              </a:lnTo>
            </a:path>
          </a:pathLst>
        </a:custGeom>
        <a:noFill/>
        <a:ln w="2540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DA9697A1-B60D-B445-A4B2-C794D99F7DED}">
      <dsp:nvSpPr>
        <dsp:cNvPr id="0" name=""/>
        <dsp:cNvSpPr/>
      </dsp:nvSpPr>
      <dsp:spPr>
        <a:xfrm>
          <a:off x="4457026" y="7765528"/>
          <a:ext cx="2446845" cy="1164475"/>
        </a:xfrm>
        <a:custGeom>
          <a:avLst/>
          <a:gdLst/>
          <a:ahLst/>
          <a:cxnLst/>
          <a:rect l="0" t="0" r="0" b="0"/>
          <a:pathLst>
            <a:path>
              <a:moveTo>
                <a:pt x="0" y="0"/>
              </a:moveTo>
              <a:lnTo>
                <a:pt x="0" y="793556"/>
              </a:lnTo>
              <a:lnTo>
                <a:pt x="2446845" y="793556"/>
              </a:lnTo>
              <a:lnTo>
                <a:pt x="2446845" y="1164475"/>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FA0319DB-71C5-204B-BC07-4172BACAA602}">
      <dsp:nvSpPr>
        <dsp:cNvPr id="0" name=""/>
        <dsp:cNvSpPr/>
      </dsp:nvSpPr>
      <dsp:spPr>
        <a:xfrm>
          <a:off x="2010181" y="7765528"/>
          <a:ext cx="2446845" cy="1164475"/>
        </a:xfrm>
        <a:custGeom>
          <a:avLst/>
          <a:gdLst/>
          <a:ahLst/>
          <a:cxnLst/>
          <a:rect l="0" t="0" r="0" b="0"/>
          <a:pathLst>
            <a:path>
              <a:moveTo>
                <a:pt x="2446845" y="0"/>
              </a:moveTo>
              <a:lnTo>
                <a:pt x="2446845" y="793556"/>
              </a:lnTo>
              <a:lnTo>
                <a:pt x="0" y="793556"/>
              </a:lnTo>
              <a:lnTo>
                <a:pt x="0" y="1164475"/>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D9683717-9862-4547-BAD5-C268EE117C3D}">
      <dsp:nvSpPr>
        <dsp:cNvPr id="0" name=""/>
        <dsp:cNvSpPr/>
      </dsp:nvSpPr>
      <dsp:spPr>
        <a:xfrm>
          <a:off x="4457026" y="4058558"/>
          <a:ext cx="6117113" cy="1164475"/>
        </a:xfrm>
        <a:custGeom>
          <a:avLst/>
          <a:gdLst/>
          <a:ahLst/>
          <a:cxnLst/>
          <a:rect l="0" t="0" r="0" b="0"/>
          <a:pathLst>
            <a:path>
              <a:moveTo>
                <a:pt x="6117113" y="0"/>
              </a:moveTo>
              <a:lnTo>
                <a:pt x="6117113" y="793556"/>
              </a:lnTo>
              <a:lnTo>
                <a:pt x="0" y="793556"/>
              </a:lnTo>
              <a:lnTo>
                <a:pt x="0" y="1164475"/>
              </a:lnTo>
            </a:path>
          </a:pathLst>
        </a:custGeom>
        <a:noFill/>
        <a:ln w="2540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5B4188E0-2001-2A41-B81C-33BD6C3A74A4}">
      <dsp:nvSpPr>
        <dsp:cNvPr id="0" name=""/>
        <dsp:cNvSpPr/>
      </dsp:nvSpPr>
      <dsp:spPr>
        <a:xfrm>
          <a:off x="8572175" y="1516063"/>
          <a:ext cx="4003928" cy="2542494"/>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E9296106-F62E-8647-88F3-85C3724E39D6}">
      <dsp:nvSpPr>
        <dsp:cNvPr id="0" name=""/>
        <dsp:cNvSpPr/>
      </dsp:nvSpPr>
      <dsp:spPr>
        <a:xfrm>
          <a:off x="9017056" y="1938700"/>
          <a:ext cx="4003928" cy="2542494"/>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67640" tIns="167640" rIns="167640" bIns="167640" numCol="1" spcCol="1270" anchor="ctr" anchorCtr="0">
          <a:noAutofit/>
        </a:bodyPr>
        <a:lstStyle/>
        <a:p>
          <a:pPr lvl="0" algn="ctr" defTabSz="1955800">
            <a:lnSpc>
              <a:spcPct val="90000"/>
            </a:lnSpc>
            <a:spcBef>
              <a:spcPct val="0"/>
            </a:spcBef>
            <a:spcAft>
              <a:spcPct val="35000"/>
            </a:spcAft>
          </a:pPr>
          <a:r>
            <a:rPr lang="en-US" sz="4400" b="1" kern="1200" dirty="0" smtClean="0">
              <a:solidFill>
                <a:schemeClr val="accent1">
                  <a:lumMod val="50000"/>
                </a:schemeClr>
              </a:solidFill>
              <a:effectLst>
                <a:outerShdw blurRad="50800" dist="38100" dir="2700000" algn="tl" rotWithShape="0">
                  <a:prstClr val="black">
                    <a:alpha val="40000"/>
                  </a:prstClr>
                </a:outerShdw>
              </a:effectLst>
            </a:rPr>
            <a:t>Revenue</a:t>
          </a:r>
          <a:endParaRPr lang="en-US" sz="4400" b="1" kern="1200" dirty="0">
            <a:solidFill>
              <a:schemeClr val="accent1">
                <a:lumMod val="50000"/>
              </a:schemeClr>
            </a:solidFill>
            <a:effectLst>
              <a:outerShdw blurRad="50800" dist="38100" dir="2700000" algn="tl" rotWithShape="0">
                <a:prstClr val="black">
                  <a:alpha val="40000"/>
                </a:prstClr>
              </a:outerShdw>
            </a:effectLst>
          </a:endParaRPr>
        </a:p>
      </dsp:txBody>
      <dsp:txXfrm>
        <a:off x="9091523" y="2013167"/>
        <a:ext cx="3854994" cy="2393560"/>
      </dsp:txXfrm>
    </dsp:sp>
    <dsp:sp modelId="{AAA4CF18-69DE-2440-9B48-9ECA1AF258CC}">
      <dsp:nvSpPr>
        <dsp:cNvPr id="0" name=""/>
        <dsp:cNvSpPr/>
      </dsp:nvSpPr>
      <dsp:spPr>
        <a:xfrm>
          <a:off x="2455062" y="5223034"/>
          <a:ext cx="4003928" cy="2542494"/>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24C2784C-19B0-0245-B501-21D0AFBE8F3D}">
      <dsp:nvSpPr>
        <dsp:cNvPr id="0" name=""/>
        <dsp:cNvSpPr/>
      </dsp:nvSpPr>
      <dsp:spPr>
        <a:xfrm>
          <a:off x="2899943" y="5645671"/>
          <a:ext cx="4003928" cy="2542494"/>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67640" tIns="167640" rIns="167640" bIns="167640" numCol="1" spcCol="1270" anchor="ctr" anchorCtr="0">
          <a:noAutofit/>
        </a:bodyPr>
        <a:lstStyle/>
        <a:p>
          <a:pPr lvl="0" algn="ctr" defTabSz="1955800">
            <a:lnSpc>
              <a:spcPct val="90000"/>
            </a:lnSpc>
            <a:spcBef>
              <a:spcPct val="0"/>
            </a:spcBef>
            <a:spcAft>
              <a:spcPct val="35000"/>
            </a:spcAft>
          </a:pPr>
          <a:r>
            <a:rPr lang="en-US" sz="4400" b="1" kern="1200" dirty="0" smtClean="0">
              <a:solidFill>
                <a:schemeClr val="accent1">
                  <a:lumMod val="50000"/>
                </a:schemeClr>
              </a:solidFill>
              <a:effectLst>
                <a:outerShdw blurRad="50800" dist="38100" dir="2700000" algn="tl" rotWithShape="0">
                  <a:prstClr val="black">
                    <a:alpha val="40000"/>
                  </a:prstClr>
                </a:outerShdw>
              </a:effectLst>
            </a:rPr>
            <a:t># of Bookings</a:t>
          </a:r>
          <a:endParaRPr lang="en-US" sz="4400" b="1" kern="1200" dirty="0">
            <a:solidFill>
              <a:schemeClr val="accent1">
                <a:lumMod val="50000"/>
              </a:schemeClr>
            </a:solidFill>
            <a:effectLst>
              <a:outerShdw blurRad="50800" dist="38100" dir="2700000" algn="tl" rotWithShape="0">
                <a:prstClr val="black">
                  <a:alpha val="40000"/>
                </a:prstClr>
              </a:outerShdw>
            </a:effectLst>
          </a:endParaRPr>
        </a:p>
      </dsp:txBody>
      <dsp:txXfrm>
        <a:off x="2974410" y="5720138"/>
        <a:ext cx="3854994" cy="2393560"/>
      </dsp:txXfrm>
    </dsp:sp>
    <dsp:sp modelId="{74AF31D7-0972-6946-9066-48C3318DAE1B}">
      <dsp:nvSpPr>
        <dsp:cNvPr id="0" name=""/>
        <dsp:cNvSpPr/>
      </dsp:nvSpPr>
      <dsp:spPr>
        <a:xfrm>
          <a:off x="8216" y="8930004"/>
          <a:ext cx="4003928" cy="2542494"/>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F9C26814-B1C0-7841-BAFC-D09FB4729128}">
      <dsp:nvSpPr>
        <dsp:cNvPr id="0" name=""/>
        <dsp:cNvSpPr/>
      </dsp:nvSpPr>
      <dsp:spPr>
        <a:xfrm>
          <a:off x="453097" y="9352641"/>
          <a:ext cx="4003928" cy="2542494"/>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67640" tIns="167640" rIns="167640" bIns="167640" numCol="1" spcCol="1270" anchor="ctr" anchorCtr="0">
          <a:noAutofit/>
        </a:bodyPr>
        <a:lstStyle/>
        <a:p>
          <a:pPr lvl="0" algn="ctr" defTabSz="1955800">
            <a:lnSpc>
              <a:spcPct val="90000"/>
            </a:lnSpc>
            <a:spcBef>
              <a:spcPct val="0"/>
            </a:spcBef>
            <a:spcAft>
              <a:spcPct val="35000"/>
            </a:spcAft>
          </a:pPr>
          <a:r>
            <a:rPr lang="en-US" sz="4400" b="1" kern="1200" dirty="0" smtClean="0">
              <a:solidFill>
                <a:schemeClr val="accent1">
                  <a:lumMod val="50000"/>
                </a:schemeClr>
              </a:solidFill>
              <a:effectLst>
                <a:outerShdw blurRad="50800" dist="38100" dir="2700000" algn="tl" rotWithShape="0">
                  <a:prstClr val="black">
                    <a:alpha val="40000"/>
                  </a:prstClr>
                </a:outerShdw>
              </a:effectLst>
            </a:rPr>
            <a:t>Customers</a:t>
          </a:r>
          <a:endParaRPr lang="en-US" sz="4400" b="1" kern="1200" dirty="0">
            <a:solidFill>
              <a:schemeClr val="accent1">
                <a:lumMod val="50000"/>
              </a:schemeClr>
            </a:solidFill>
            <a:effectLst>
              <a:outerShdw blurRad="50800" dist="38100" dir="2700000" algn="tl" rotWithShape="0">
                <a:prstClr val="black">
                  <a:alpha val="40000"/>
                </a:prstClr>
              </a:outerShdw>
            </a:effectLst>
          </a:endParaRPr>
        </a:p>
      </dsp:txBody>
      <dsp:txXfrm>
        <a:off x="527564" y="9427108"/>
        <a:ext cx="3854994" cy="2393560"/>
      </dsp:txXfrm>
    </dsp:sp>
    <dsp:sp modelId="{089CAEF9-7F85-9F4E-9FAE-EF8138C4A61F}">
      <dsp:nvSpPr>
        <dsp:cNvPr id="0" name=""/>
        <dsp:cNvSpPr/>
      </dsp:nvSpPr>
      <dsp:spPr>
        <a:xfrm>
          <a:off x="4901907" y="8930004"/>
          <a:ext cx="4003928" cy="2542494"/>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6B3CE8A3-4193-A447-A3DE-5867EC266B48}">
      <dsp:nvSpPr>
        <dsp:cNvPr id="0" name=""/>
        <dsp:cNvSpPr/>
      </dsp:nvSpPr>
      <dsp:spPr>
        <a:xfrm>
          <a:off x="5346788" y="9352641"/>
          <a:ext cx="4003928" cy="2542494"/>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67640" tIns="167640" rIns="167640" bIns="167640" numCol="1" spcCol="1270" anchor="ctr" anchorCtr="0">
          <a:noAutofit/>
        </a:bodyPr>
        <a:lstStyle/>
        <a:p>
          <a:pPr lvl="0" algn="ctr" defTabSz="1955800">
            <a:lnSpc>
              <a:spcPct val="90000"/>
            </a:lnSpc>
            <a:spcBef>
              <a:spcPct val="0"/>
            </a:spcBef>
            <a:spcAft>
              <a:spcPct val="35000"/>
            </a:spcAft>
          </a:pPr>
          <a:r>
            <a:rPr lang="en-US" sz="4400" b="1" kern="1200" dirty="0" smtClean="0">
              <a:solidFill>
                <a:schemeClr val="accent1">
                  <a:lumMod val="50000"/>
                </a:schemeClr>
              </a:solidFill>
              <a:effectLst>
                <a:outerShdw blurRad="50800" dist="38100" dir="2700000" algn="tl" rotWithShape="0">
                  <a:prstClr val="black">
                    <a:alpha val="40000"/>
                  </a:prstClr>
                </a:outerShdw>
              </a:effectLst>
            </a:rPr>
            <a:t>Conversion Rate</a:t>
          </a:r>
          <a:endParaRPr lang="en-US" sz="4400" b="1" kern="1200" dirty="0">
            <a:solidFill>
              <a:schemeClr val="accent1">
                <a:lumMod val="50000"/>
              </a:schemeClr>
            </a:solidFill>
            <a:effectLst>
              <a:outerShdw blurRad="50800" dist="38100" dir="2700000" algn="tl" rotWithShape="0">
                <a:prstClr val="black">
                  <a:alpha val="40000"/>
                </a:prstClr>
              </a:outerShdw>
            </a:effectLst>
          </a:endParaRPr>
        </a:p>
      </dsp:txBody>
      <dsp:txXfrm>
        <a:off x="5421255" y="9427108"/>
        <a:ext cx="3854994" cy="2393560"/>
      </dsp:txXfrm>
    </dsp:sp>
    <dsp:sp modelId="{CA089ABA-BDF2-5941-94F6-25DA0B308EAB}">
      <dsp:nvSpPr>
        <dsp:cNvPr id="0" name=""/>
        <dsp:cNvSpPr/>
      </dsp:nvSpPr>
      <dsp:spPr>
        <a:xfrm>
          <a:off x="14689289" y="5223034"/>
          <a:ext cx="4003928" cy="2542494"/>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52002310-27AE-984B-9C1F-D87B86EBEF50}">
      <dsp:nvSpPr>
        <dsp:cNvPr id="0" name=""/>
        <dsp:cNvSpPr/>
      </dsp:nvSpPr>
      <dsp:spPr>
        <a:xfrm>
          <a:off x="15134170" y="5645671"/>
          <a:ext cx="4003928" cy="2542494"/>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67640" tIns="167640" rIns="167640" bIns="167640" numCol="1" spcCol="1270" anchor="ctr" anchorCtr="0">
          <a:noAutofit/>
        </a:bodyPr>
        <a:lstStyle/>
        <a:p>
          <a:pPr lvl="0" algn="ctr" defTabSz="1955800">
            <a:lnSpc>
              <a:spcPct val="90000"/>
            </a:lnSpc>
            <a:spcBef>
              <a:spcPct val="0"/>
            </a:spcBef>
            <a:spcAft>
              <a:spcPct val="35000"/>
            </a:spcAft>
          </a:pPr>
          <a:r>
            <a:rPr lang="en-US" sz="4400" b="1" kern="1200" dirty="0" smtClean="0">
              <a:solidFill>
                <a:schemeClr val="accent1">
                  <a:lumMod val="50000"/>
                </a:schemeClr>
              </a:solidFill>
              <a:effectLst>
                <a:outerShdw blurRad="50800" dist="38100" dir="2700000" algn="tl" rotWithShape="0">
                  <a:prstClr val="black">
                    <a:alpha val="40000"/>
                  </a:prstClr>
                </a:outerShdw>
              </a:effectLst>
            </a:rPr>
            <a:t>Booking Size</a:t>
          </a:r>
          <a:endParaRPr lang="en-US" sz="4400" b="1" kern="1200" dirty="0">
            <a:solidFill>
              <a:schemeClr val="accent1">
                <a:lumMod val="50000"/>
              </a:schemeClr>
            </a:solidFill>
            <a:effectLst>
              <a:outerShdw blurRad="50800" dist="38100" dir="2700000" algn="tl" rotWithShape="0">
                <a:prstClr val="black">
                  <a:alpha val="40000"/>
                </a:prstClr>
              </a:outerShdw>
            </a:effectLst>
          </a:endParaRPr>
        </a:p>
      </dsp:txBody>
      <dsp:txXfrm>
        <a:off x="15208637" y="5720138"/>
        <a:ext cx="3854994" cy="2393560"/>
      </dsp:txXfrm>
    </dsp:sp>
    <dsp:sp modelId="{9B6235EE-FCB7-6146-A772-064D1462F5BB}">
      <dsp:nvSpPr>
        <dsp:cNvPr id="0" name=""/>
        <dsp:cNvSpPr/>
      </dsp:nvSpPr>
      <dsp:spPr>
        <a:xfrm>
          <a:off x="9795598" y="8930004"/>
          <a:ext cx="4003928" cy="2542494"/>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926C5F33-D731-CE49-AC3B-068060A85552}">
      <dsp:nvSpPr>
        <dsp:cNvPr id="0" name=""/>
        <dsp:cNvSpPr/>
      </dsp:nvSpPr>
      <dsp:spPr>
        <a:xfrm>
          <a:off x="10240479" y="9352641"/>
          <a:ext cx="4003928" cy="2542494"/>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67640" tIns="167640" rIns="167640" bIns="167640" numCol="1" spcCol="1270" anchor="ctr" anchorCtr="0">
          <a:noAutofit/>
        </a:bodyPr>
        <a:lstStyle/>
        <a:p>
          <a:pPr lvl="0" algn="ctr" defTabSz="1955800">
            <a:lnSpc>
              <a:spcPct val="90000"/>
            </a:lnSpc>
            <a:spcBef>
              <a:spcPct val="0"/>
            </a:spcBef>
            <a:spcAft>
              <a:spcPct val="35000"/>
            </a:spcAft>
          </a:pPr>
          <a:r>
            <a:rPr lang="en-US" sz="4400" b="1" kern="1200" dirty="0" smtClean="0">
              <a:solidFill>
                <a:schemeClr val="accent1">
                  <a:lumMod val="50000"/>
                </a:schemeClr>
              </a:solidFill>
              <a:effectLst>
                <a:outerShdw blurRad="50800" dist="38100" dir="2700000" algn="tl" rotWithShape="0">
                  <a:prstClr val="black">
                    <a:alpha val="40000"/>
                  </a:prstClr>
                </a:outerShdw>
              </a:effectLst>
            </a:rPr>
            <a:t># of nights</a:t>
          </a:r>
          <a:endParaRPr lang="en-US" sz="4400" b="1" kern="1200" dirty="0">
            <a:solidFill>
              <a:schemeClr val="accent1">
                <a:lumMod val="50000"/>
              </a:schemeClr>
            </a:solidFill>
            <a:effectLst>
              <a:outerShdw blurRad="50800" dist="38100" dir="2700000" algn="tl" rotWithShape="0">
                <a:prstClr val="black">
                  <a:alpha val="40000"/>
                </a:prstClr>
              </a:outerShdw>
            </a:effectLst>
          </a:endParaRPr>
        </a:p>
      </dsp:txBody>
      <dsp:txXfrm>
        <a:off x="10314946" y="9427108"/>
        <a:ext cx="3854994" cy="2393560"/>
      </dsp:txXfrm>
    </dsp:sp>
    <dsp:sp modelId="{6BCC06CB-50AF-C241-9AD3-30809DF07953}">
      <dsp:nvSpPr>
        <dsp:cNvPr id="0" name=""/>
        <dsp:cNvSpPr/>
      </dsp:nvSpPr>
      <dsp:spPr>
        <a:xfrm>
          <a:off x="14689289" y="8930004"/>
          <a:ext cx="4003928" cy="2542494"/>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6E30F14D-AC40-6E42-9EA8-A9032874E3F3}">
      <dsp:nvSpPr>
        <dsp:cNvPr id="0" name=""/>
        <dsp:cNvSpPr/>
      </dsp:nvSpPr>
      <dsp:spPr>
        <a:xfrm>
          <a:off x="15134170" y="9352641"/>
          <a:ext cx="4003928" cy="2542494"/>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67640" tIns="167640" rIns="167640" bIns="167640" numCol="1" spcCol="1270" anchor="ctr" anchorCtr="0">
          <a:noAutofit/>
        </a:bodyPr>
        <a:lstStyle/>
        <a:p>
          <a:pPr lvl="0" algn="ctr" defTabSz="1955800">
            <a:lnSpc>
              <a:spcPct val="90000"/>
            </a:lnSpc>
            <a:spcBef>
              <a:spcPct val="0"/>
            </a:spcBef>
            <a:spcAft>
              <a:spcPct val="35000"/>
            </a:spcAft>
          </a:pPr>
          <a:r>
            <a:rPr lang="en-US" sz="4400" b="1" kern="1200" dirty="0" smtClean="0">
              <a:solidFill>
                <a:schemeClr val="accent1">
                  <a:lumMod val="50000"/>
                </a:schemeClr>
              </a:solidFill>
              <a:effectLst>
                <a:outerShdw blurRad="50800" dist="38100" dir="2700000" algn="tl" rotWithShape="0">
                  <a:prstClr val="black">
                    <a:alpha val="40000"/>
                  </a:prstClr>
                </a:outerShdw>
              </a:effectLst>
            </a:rPr>
            <a:t>Avg. price per night</a:t>
          </a:r>
          <a:endParaRPr lang="en-US" sz="4400" b="1" kern="1200" dirty="0">
            <a:solidFill>
              <a:schemeClr val="accent1">
                <a:lumMod val="50000"/>
              </a:schemeClr>
            </a:solidFill>
            <a:effectLst>
              <a:outerShdw blurRad="50800" dist="38100" dir="2700000" algn="tl" rotWithShape="0">
                <a:prstClr val="black">
                  <a:alpha val="40000"/>
                </a:prstClr>
              </a:outerShdw>
            </a:effectLst>
          </a:endParaRPr>
        </a:p>
      </dsp:txBody>
      <dsp:txXfrm>
        <a:off x="15208637" y="9427108"/>
        <a:ext cx="3854994" cy="2393560"/>
      </dsp:txXfrm>
    </dsp:sp>
    <dsp:sp modelId="{2CF135BE-19FB-FB4B-B6DC-BD522009A607}">
      <dsp:nvSpPr>
        <dsp:cNvPr id="0" name=""/>
        <dsp:cNvSpPr/>
      </dsp:nvSpPr>
      <dsp:spPr>
        <a:xfrm>
          <a:off x="19582980" y="8930004"/>
          <a:ext cx="4003928" cy="2542494"/>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36FB17DA-5A17-F444-AEAA-80B1C922D72B}">
      <dsp:nvSpPr>
        <dsp:cNvPr id="0" name=""/>
        <dsp:cNvSpPr/>
      </dsp:nvSpPr>
      <dsp:spPr>
        <a:xfrm>
          <a:off x="20027861" y="9352641"/>
          <a:ext cx="4003928" cy="2542494"/>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67640" tIns="167640" rIns="167640" bIns="167640" numCol="1" spcCol="1270" anchor="ctr" anchorCtr="0">
          <a:noAutofit/>
        </a:bodyPr>
        <a:lstStyle/>
        <a:p>
          <a:pPr lvl="0" algn="ctr" defTabSz="1955800">
            <a:lnSpc>
              <a:spcPct val="90000"/>
            </a:lnSpc>
            <a:spcBef>
              <a:spcPct val="0"/>
            </a:spcBef>
            <a:spcAft>
              <a:spcPct val="35000"/>
            </a:spcAft>
          </a:pPr>
          <a:r>
            <a:rPr lang="en-US" sz="4400" b="1" kern="1200" dirty="0" smtClean="0">
              <a:solidFill>
                <a:schemeClr val="accent1">
                  <a:lumMod val="50000"/>
                </a:schemeClr>
              </a:solidFill>
              <a:effectLst>
                <a:outerShdw blurRad="50800" dist="38100" dir="2700000" algn="tl" rotWithShape="0">
                  <a:prstClr val="black">
                    <a:alpha val="40000"/>
                  </a:prstClr>
                </a:outerShdw>
              </a:effectLst>
            </a:rPr>
            <a:t>Upsells</a:t>
          </a:r>
          <a:endParaRPr lang="en-US" sz="4400" b="1" kern="1200" dirty="0">
            <a:solidFill>
              <a:schemeClr val="accent1">
                <a:lumMod val="50000"/>
              </a:schemeClr>
            </a:solidFill>
            <a:effectLst>
              <a:outerShdw blurRad="50800" dist="38100" dir="2700000" algn="tl" rotWithShape="0">
                <a:prstClr val="black">
                  <a:alpha val="40000"/>
                </a:prstClr>
              </a:outerShdw>
            </a:effectLst>
          </a:endParaRPr>
        </a:p>
      </dsp:txBody>
      <dsp:txXfrm>
        <a:off x="20102328" y="9427108"/>
        <a:ext cx="3854994" cy="239356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883D82-18C2-4949-A771-0EBF108BDF3F}">
      <dsp:nvSpPr>
        <dsp:cNvPr id="0" name=""/>
        <dsp:cNvSpPr/>
      </dsp:nvSpPr>
      <dsp:spPr>
        <a:xfrm>
          <a:off x="21982916" y="7377818"/>
          <a:ext cx="1200001" cy="571091"/>
        </a:xfrm>
        <a:custGeom>
          <a:avLst/>
          <a:gdLst/>
          <a:ahLst/>
          <a:cxnLst/>
          <a:rect l="0" t="0" r="0" b="0"/>
          <a:pathLst>
            <a:path>
              <a:moveTo>
                <a:pt x="0" y="0"/>
              </a:moveTo>
              <a:lnTo>
                <a:pt x="0" y="389182"/>
              </a:lnTo>
              <a:lnTo>
                <a:pt x="1200001" y="389182"/>
              </a:lnTo>
              <a:lnTo>
                <a:pt x="1200001" y="571091"/>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E42BD201-0F7A-1846-BDB9-F0F91193CE4C}">
      <dsp:nvSpPr>
        <dsp:cNvPr id="0" name=""/>
        <dsp:cNvSpPr/>
      </dsp:nvSpPr>
      <dsp:spPr>
        <a:xfrm>
          <a:off x="20782915" y="7377818"/>
          <a:ext cx="1200001" cy="571091"/>
        </a:xfrm>
        <a:custGeom>
          <a:avLst/>
          <a:gdLst/>
          <a:ahLst/>
          <a:cxnLst/>
          <a:rect l="0" t="0" r="0" b="0"/>
          <a:pathLst>
            <a:path>
              <a:moveTo>
                <a:pt x="1200001" y="0"/>
              </a:moveTo>
              <a:lnTo>
                <a:pt x="1200001" y="389182"/>
              </a:lnTo>
              <a:lnTo>
                <a:pt x="0" y="389182"/>
              </a:lnTo>
              <a:lnTo>
                <a:pt x="0" y="571091"/>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3CBDE771-8F56-3C48-811A-67A777BFE577}">
      <dsp:nvSpPr>
        <dsp:cNvPr id="0" name=""/>
        <dsp:cNvSpPr/>
      </dsp:nvSpPr>
      <dsp:spPr>
        <a:xfrm>
          <a:off x="20782915" y="5559816"/>
          <a:ext cx="1200001" cy="571091"/>
        </a:xfrm>
        <a:custGeom>
          <a:avLst/>
          <a:gdLst/>
          <a:ahLst/>
          <a:cxnLst/>
          <a:rect l="0" t="0" r="0" b="0"/>
          <a:pathLst>
            <a:path>
              <a:moveTo>
                <a:pt x="0" y="0"/>
              </a:moveTo>
              <a:lnTo>
                <a:pt x="0" y="389182"/>
              </a:lnTo>
              <a:lnTo>
                <a:pt x="1200001" y="389182"/>
              </a:lnTo>
              <a:lnTo>
                <a:pt x="1200001" y="571091"/>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AD3FFF2F-6B51-AF4A-AB73-903B3C3CCCA1}">
      <dsp:nvSpPr>
        <dsp:cNvPr id="0" name=""/>
        <dsp:cNvSpPr/>
      </dsp:nvSpPr>
      <dsp:spPr>
        <a:xfrm>
          <a:off x="19582914" y="5559816"/>
          <a:ext cx="1200001" cy="571091"/>
        </a:xfrm>
        <a:custGeom>
          <a:avLst/>
          <a:gdLst/>
          <a:ahLst/>
          <a:cxnLst/>
          <a:rect l="0" t="0" r="0" b="0"/>
          <a:pathLst>
            <a:path>
              <a:moveTo>
                <a:pt x="1200001" y="0"/>
              </a:moveTo>
              <a:lnTo>
                <a:pt x="1200001" y="389182"/>
              </a:lnTo>
              <a:lnTo>
                <a:pt x="0" y="389182"/>
              </a:lnTo>
              <a:lnTo>
                <a:pt x="0" y="571091"/>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9F7712C6-08F9-4B48-84E2-B74EAA68C245}">
      <dsp:nvSpPr>
        <dsp:cNvPr id="0" name=""/>
        <dsp:cNvSpPr/>
      </dsp:nvSpPr>
      <dsp:spPr>
        <a:xfrm>
          <a:off x="16807912" y="3741814"/>
          <a:ext cx="3975003" cy="571091"/>
        </a:xfrm>
        <a:custGeom>
          <a:avLst/>
          <a:gdLst/>
          <a:ahLst/>
          <a:cxnLst/>
          <a:rect l="0" t="0" r="0" b="0"/>
          <a:pathLst>
            <a:path>
              <a:moveTo>
                <a:pt x="0" y="0"/>
              </a:moveTo>
              <a:lnTo>
                <a:pt x="0" y="389182"/>
              </a:lnTo>
              <a:lnTo>
                <a:pt x="3975003" y="389182"/>
              </a:lnTo>
              <a:lnTo>
                <a:pt x="3975003" y="571091"/>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2808DE55-9F8A-8848-A7E9-4A1EF0C750AD}">
      <dsp:nvSpPr>
        <dsp:cNvPr id="0" name=""/>
        <dsp:cNvSpPr/>
      </dsp:nvSpPr>
      <dsp:spPr>
        <a:xfrm>
          <a:off x="17182912" y="7377818"/>
          <a:ext cx="1200001" cy="571091"/>
        </a:xfrm>
        <a:custGeom>
          <a:avLst/>
          <a:gdLst/>
          <a:ahLst/>
          <a:cxnLst/>
          <a:rect l="0" t="0" r="0" b="0"/>
          <a:pathLst>
            <a:path>
              <a:moveTo>
                <a:pt x="0" y="0"/>
              </a:moveTo>
              <a:lnTo>
                <a:pt x="0" y="389182"/>
              </a:lnTo>
              <a:lnTo>
                <a:pt x="1200001" y="389182"/>
              </a:lnTo>
              <a:lnTo>
                <a:pt x="1200001" y="571091"/>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5B70798D-C3A6-1946-84AF-BEFEA2479205}">
      <dsp:nvSpPr>
        <dsp:cNvPr id="0" name=""/>
        <dsp:cNvSpPr/>
      </dsp:nvSpPr>
      <dsp:spPr>
        <a:xfrm>
          <a:off x="15982911" y="7377818"/>
          <a:ext cx="1200001" cy="571091"/>
        </a:xfrm>
        <a:custGeom>
          <a:avLst/>
          <a:gdLst/>
          <a:ahLst/>
          <a:cxnLst/>
          <a:rect l="0" t="0" r="0" b="0"/>
          <a:pathLst>
            <a:path>
              <a:moveTo>
                <a:pt x="1200001" y="0"/>
              </a:moveTo>
              <a:lnTo>
                <a:pt x="1200001" y="389182"/>
              </a:lnTo>
              <a:lnTo>
                <a:pt x="0" y="389182"/>
              </a:lnTo>
              <a:lnTo>
                <a:pt x="0" y="571091"/>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2C3C82AD-032B-AF4F-8E85-D4B6E9B226B3}">
      <dsp:nvSpPr>
        <dsp:cNvPr id="0" name=""/>
        <dsp:cNvSpPr/>
      </dsp:nvSpPr>
      <dsp:spPr>
        <a:xfrm>
          <a:off x="12832908" y="5559816"/>
          <a:ext cx="4350003" cy="571091"/>
        </a:xfrm>
        <a:custGeom>
          <a:avLst/>
          <a:gdLst/>
          <a:ahLst/>
          <a:cxnLst/>
          <a:rect l="0" t="0" r="0" b="0"/>
          <a:pathLst>
            <a:path>
              <a:moveTo>
                <a:pt x="0" y="0"/>
              </a:moveTo>
              <a:lnTo>
                <a:pt x="0" y="389182"/>
              </a:lnTo>
              <a:lnTo>
                <a:pt x="4350003" y="389182"/>
              </a:lnTo>
              <a:lnTo>
                <a:pt x="4350003" y="571091"/>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03A6CAC0-9079-D147-81E2-9DF05C7C4B8F}">
      <dsp:nvSpPr>
        <dsp:cNvPr id="0" name=""/>
        <dsp:cNvSpPr/>
      </dsp:nvSpPr>
      <dsp:spPr>
        <a:xfrm>
          <a:off x="13582909" y="9195819"/>
          <a:ext cx="5400004" cy="571091"/>
        </a:xfrm>
        <a:custGeom>
          <a:avLst/>
          <a:gdLst/>
          <a:ahLst/>
          <a:cxnLst/>
          <a:rect l="0" t="0" r="0" b="0"/>
          <a:pathLst>
            <a:path>
              <a:moveTo>
                <a:pt x="0" y="0"/>
              </a:moveTo>
              <a:lnTo>
                <a:pt x="0" y="389182"/>
              </a:lnTo>
              <a:lnTo>
                <a:pt x="5400004" y="389182"/>
              </a:lnTo>
              <a:lnTo>
                <a:pt x="5400004" y="571091"/>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8E668B2D-2CA2-A048-BDDE-80F9C5D3718A}">
      <dsp:nvSpPr>
        <dsp:cNvPr id="0" name=""/>
        <dsp:cNvSpPr/>
      </dsp:nvSpPr>
      <dsp:spPr>
        <a:xfrm>
          <a:off x="13582909" y="9195819"/>
          <a:ext cx="3000002" cy="571091"/>
        </a:xfrm>
        <a:custGeom>
          <a:avLst/>
          <a:gdLst/>
          <a:ahLst/>
          <a:cxnLst/>
          <a:rect l="0" t="0" r="0" b="0"/>
          <a:pathLst>
            <a:path>
              <a:moveTo>
                <a:pt x="0" y="0"/>
              </a:moveTo>
              <a:lnTo>
                <a:pt x="0" y="389182"/>
              </a:lnTo>
              <a:lnTo>
                <a:pt x="3000002" y="389182"/>
              </a:lnTo>
              <a:lnTo>
                <a:pt x="3000002" y="571091"/>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DA8A0597-7B4B-D94A-B4DB-F7AECFFB7C06}">
      <dsp:nvSpPr>
        <dsp:cNvPr id="0" name=""/>
        <dsp:cNvSpPr/>
      </dsp:nvSpPr>
      <dsp:spPr>
        <a:xfrm>
          <a:off x="14182909" y="11013821"/>
          <a:ext cx="1200001" cy="571091"/>
        </a:xfrm>
        <a:custGeom>
          <a:avLst/>
          <a:gdLst/>
          <a:ahLst/>
          <a:cxnLst/>
          <a:rect l="0" t="0" r="0" b="0"/>
          <a:pathLst>
            <a:path>
              <a:moveTo>
                <a:pt x="0" y="0"/>
              </a:moveTo>
              <a:lnTo>
                <a:pt x="0" y="389182"/>
              </a:lnTo>
              <a:lnTo>
                <a:pt x="1200001" y="389182"/>
              </a:lnTo>
              <a:lnTo>
                <a:pt x="1200001" y="571091"/>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469F2AD0-F93D-064F-A722-5183C63907B9}">
      <dsp:nvSpPr>
        <dsp:cNvPr id="0" name=""/>
        <dsp:cNvSpPr/>
      </dsp:nvSpPr>
      <dsp:spPr>
        <a:xfrm>
          <a:off x="12982908" y="11013821"/>
          <a:ext cx="1200001" cy="571091"/>
        </a:xfrm>
        <a:custGeom>
          <a:avLst/>
          <a:gdLst/>
          <a:ahLst/>
          <a:cxnLst/>
          <a:rect l="0" t="0" r="0" b="0"/>
          <a:pathLst>
            <a:path>
              <a:moveTo>
                <a:pt x="1200001" y="0"/>
              </a:moveTo>
              <a:lnTo>
                <a:pt x="1200001" y="389182"/>
              </a:lnTo>
              <a:lnTo>
                <a:pt x="0" y="389182"/>
              </a:lnTo>
              <a:lnTo>
                <a:pt x="0" y="571091"/>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2C97ECF5-391F-AD48-A0FC-40171AE60FB5}">
      <dsp:nvSpPr>
        <dsp:cNvPr id="0" name=""/>
        <dsp:cNvSpPr/>
      </dsp:nvSpPr>
      <dsp:spPr>
        <a:xfrm>
          <a:off x="13582909" y="9195819"/>
          <a:ext cx="600000" cy="571091"/>
        </a:xfrm>
        <a:custGeom>
          <a:avLst/>
          <a:gdLst/>
          <a:ahLst/>
          <a:cxnLst/>
          <a:rect l="0" t="0" r="0" b="0"/>
          <a:pathLst>
            <a:path>
              <a:moveTo>
                <a:pt x="0" y="0"/>
              </a:moveTo>
              <a:lnTo>
                <a:pt x="0" y="389182"/>
              </a:lnTo>
              <a:lnTo>
                <a:pt x="600000" y="389182"/>
              </a:lnTo>
              <a:lnTo>
                <a:pt x="600000" y="571091"/>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B742E75B-0E40-B34D-A3EA-A53ACCBA4C9D}">
      <dsp:nvSpPr>
        <dsp:cNvPr id="0" name=""/>
        <dsp:cNvSpPr/>
      </dsp:nvSpPr>
      <dsp:spPr>
        <a:xfrm>
          <a:off x="10582906" y="9195819"/>
          <a:ext cx="3000002" cy="571091"/>
        </a:xfrm>
        <a:custGeom>
          <a:avLst/>
          <a:gdLst/>
          <a:ahLst/>
          <a:cxnLst/>
          <a:rect l="0" t="0" r="0" b="0"/>
          <a:pathLst>
            <a:path>
              <a:moveTo>
                <a:pt x="3000002" y="0"/>
              </a:moveTo>
              <a:lnTo>
                <a:pt x="3000002" y="389182"/>
              </a:lnTo>
              <a:lnTo>
                <a:pt x="0" y="389182"/>
              </a:lnTo>
              <a:lnTo>
                <a:pt x="0" y="571091"/>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5A5C0017-0142-0048-BAE0-542180AA7BF5}">
      <dsp:nvSpPr>
        <dsp:cNvPr id="0" name=""/>
        <dsp:cNvSpPr/>
      </dsp:nvSpPr>
      <dsp:spPr>
        <a:xfrm>
          <a:off x="8182904" y="11013821"/>
          <a:ext cx="2400002" cy="571091"/>
        </a:xfrm>
        <a:custGeom>
          <a:avLst/>
          <a:gdLst/>
          <a:ahLst/>
          <a:cxnLst/>
          <a:rect l="0" t="0" r="0" b="0"/>
          <a:pathLst>
            <a:path>
              <a:moveTo>
                <a:pt x="0" y="0"/>
              </a:moveTo>
              <a:lnTo>
                <a:pt x="0" y="389182"/>
              </a:lnTo>
              <a:lnTo>
                <a:pt x="2400002" y="389182"/>
              </a:lnTo>
              <a:lnTo>
                <a:pt x="2400002" y="571091"/>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D987B80A-1F0C-0D4B-9169-98364EEDB9EA}">
      <dsp:nvSpPr>
        <dsp:cNvPr id="0" name=""/>
        <dsp:cNvSpPr/>
      </dsp:nvSpPr>
      <dsp:spPr>
        <a:xfrm>
          <a:off x="8137184" y="11013821"/>
          <a:ext cx="91440" cy="571091"/>
        </a:xfrm>
        <a:custGeom>
          <a:avLst/>
          <a:gdLst/>
          <a:ahLst/>
          <a:cxnLst/>
          <a:rect l="0" t="0" r="0" b="0"/>
          <a:pathLst>
            <a:path>
              <a:moveTo>
                <a:pt x="45720" y="0"/>
              </a:moveTo>
              <a:lnTo>
                <a:pt x="45720" y="571091"/>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2679EBE4-B7CF-9A40-B23C-62FAAF390EA4}">
      <dsp:nvSpPr>
        <dsp:cNvPr id="0" name=""/>
        <dsp:cNvSpPr/>
      </dsp:nvSpPr>
      <dsp:spPr>
        <a:xfrm>
          <a:off x="5782902" y="11013821"/>
          <a:ext cx="2400002" cy="571091"/>
        </a:xfrm>
        <a:custGeom>
          <a:avLst/>
          <a:gdLst/>
          <a:ahLst/>
          <a:cxnLst/>
          <a:rect l="0" t="0" r="0" b="0"/>
          <a:pathLst>
            <a:path>
              <a:moveTo>
                <a:pt x="2400002" y="0"/>
              </a:moveTo>
              <a:lnTo>
                <a:pt x="2400002" y="389182"/>
              </a:lnTo>
              <a:lnTo>
                <a:pt x="0" y="389182"/>
              </a:lnTo>
              <a:lnTo>
                <a:pt x="0" y="571091"/>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AF847CF5-5AEC-1E44-9F29-F9E6515AAADE}">
      <dsp:nvSpPr>
        <dsp:cNvPr id="0" name=""/>
        <dsp:cNvSpPr/>
      </dsp:nvSpPr>
      <dsp:spPr>
        <a:xfrm>
          <a:off x="8182904" y="9195819"/>
          <a:ext cx="5400004" cy="571091"/>
        </a:xfrm>
        <a:custGeom>
          <a:avLst/>
          <a:gdLst/>
          <a:ahLst/>
          <a:cxnLst/>
          <a:rect l="0" t="0" r="0" b="0"/>
          <a:pathLst>
            <a:path>
              <a:moveTo>
                <a:pt x="5400004" y="0"/>
              </a:moveTo>
              <a:lnTo>
                <a:pt x="5400004" y="389182"/>
              </a:lnTo>
              <a:lnTo>
                <a:pt x="0" y="389182"/>
              </a:lnTo>
              <a:lnTo>
                <a:pt x="0" y="571091"/>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43101436-2016-7D4F-AE5D-B2652F8CE5E8}">
      <dsp:nvSpPr>
        <dsp:cNvPr id="0" name=""/>
        <dsp:cNvSpPr/>
      </dsp:nvSpPr>
      <dsp:spPr>
        <a:xfrm>
          <a:off x="8482904" y="7377818"/>
          <a:ext cx="5100004" cy="571091"/>
        </a:xfrm>
        <a:custGeom>
          <a:avLst/>
          <a:gdLst/>
          <a:ahLst/>
          <a:cxnLst/>
          <a:rect l="0" t="0" r="0" b="0"/>
          <a:pathLst>
            <a:path>
              <a:moveTo>
                <a:pt x="0" y="0"/>
              </a:moveTo>
              <a:lnTo>
                <a:pt x="0" y="389182"/>
              </a:lnTo>
              <a:lnTo>
                <a:pt x="5100004" y="389182"/>
              </a:lnTo>
              <a:lnTo>
                <a:pt x="5100004" y="571091"/>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2CFBB32C-E833-D742-A141-2B3CC88B5EB3}">
      <dsp:nvSpPr>
        <dsp:cNvPr id="0" name=""/>
        <dsp:cNvSpPr/>
      </dsp:nvSpPr>
      <dsp:spPr>
        <a:xfrm>
          <a:off x="3382900" y="9195819"/>
          <a:ext cx="2400002" cy="571091"/>
        </a:xfrm>
        <a:custGeom>
          <a:avLst/>
          <a:gdLst/>
          <a:ahLst/>
          <a:cxnLst/>
          <a:rect l="0" t="0" r="0" b="0"/>
          <a:pathLst>
            <a:path>
              <a:moveTo>
                <a:pt x="0" y="0"/>
              </a:moveTo>
              <a:lnTo>
                <a:pt x="0" y="389182"/>
              </a:lnTo>
              <a:lnTo>
                <a:pt x="2400002" y="389182"/>
              </a:lnTo>
              <a:lnTo>
                <a:pt x="2400002" y="571091"/>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4ED83D31-C156-1947-844E-17B2AFD7FA96}">
      <dsp:nvSpPr>
        <dsp:cNvPr id="0" name=""/>
        <dsp:cNvSpPr/>
      </dsp:nvSpPr>
      <dsp:spPr>
        <a:xfrm>
          <a:off x="3337180" y="9195819"/>
          <a:ext cx="91440" cy="571091"/>
        </a:xfrm>
        <a:custGeom>
          <a:avLst/>
          <a:gdLst/>
          <a:ahLst/>
          <a:cxnLst/>
          <a:rect l="0" t="0" r="0" b="0"/>
          <a:pathLst>
            <a:path>
              <a:moveTo>
                <a:pt x="45720" y="0"/>
              </a:moveTo>
              <a:lnTo>
                <a:pt x="45720" y="571091"/>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3F0E2D44-568D-9449-A3A0-408C0345B63E}">
      <dsp:nvSpPr>
        <dsp:cNvPr id="0" name=""/>
        <dsp:cNvSpPr/>
      </dsp:nvSpPr>
      <dsp:spPr>
        <a:xfrm>
          <a:off x="982898" y="9195819"/>
          <a:ext cx="2400002" cy="571091"/>
        </a:xfrm>
        <a:custGeom>
          <a:avLst/>
          <a:gdLst/>
          <a:ahLst/>
          <a:cxnLst/>
          <a:rect l="0" t="0" r="0" b="0"/>
          <a:pathLst>
            <a:path>
              <a:moveTo>
                <a:pt x="2400002" y="0"/>
              </a:moveTo>
              <a:lnTo>
                <a:pt x="2400002" y="389182"/>
              </a:lnTo>
              <a:lnTo>
                <a:pt x="0" y="389182"/>
              </a:lnTo>
              <a:lnTo>
                <a:pt x="0" y="571091"/>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8902A2A4-59E8-7449-A3E0-DEF28AE2293D}">
      <dsp:nvSpPr>
        <dsp:cNvPr id="0" name=""/>
        <dsp:cNvSpPr/>
      </dsp:nvSpPr>
      <dsp:spPr>
        <a:xfrm>
          <a:off x="3382900" y="7377818"/>
          <a:ext cx="5100004" cy="571091"/>
        </a:xfrm>
        <a:custGeom>
          <a:avLst/>
          <a:gdLst/>
          <a:ahLst/>
          <a:cxnLst/>
          <a:rect l="0" t="0" r="0" b="0"/>
          <a:pathLst>
            <a:path>
              <a:moveTo>
                <a:pt x="5100004" y="0"/>
              </a:moveTo>
              <a:lnTo>
                <a:pt x="5100004" y="389182"/>
              </a:lnTo>
              <a:lnTo>
                <a:pt x="0" y="389182"/>
              </a:lnTo>
              <a:lnTo>
                <a:pt x="0" y="571091"/>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627D7303-76E1-1B4B-9836-288B5133FB0E}">
      <dsp:nvSpPr>
        <dsp:cNvPr id="0" name=""/>
        <dsp:cNvSpPr/>
      </dsp:nvSpPr>
      <dsp:spPr>
        <a:xfrm>
          <a:off x="8482904" y="5559816"/>
          <a:ext cx="4350003" cy="571091"/>
        </a:xfrm>
        <a:custGeom>
          <a:avLst/>
          <a:gdLst/>
          <a:ahLst/>
          <a:cxnLst/>
          <a:rect l="0" t="0" r="0" b="0"/>
          <a:pathLst>
            <a:path>
              <a:moveTo>
                <a:pt x="4350003" y="0"/>
              </a:moveTo>
              <a:lnTo>
                <a:pt x="4350003" y="389182"/>
              </a:lnTo>
              <a:lnTo>
                <a:pt x="0" y="389182"/>
              </a:lnTo>
              <a:lnTo>
                <a:pt x="0" y="571091"/>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BE2A5B58-D991-F241-86D6-29C441398F16}">
      <dsp:nvSpPr>
        <dsp:cNvPr id="0" name=""/>
        <dsp:cNvSpPr/>
      </dsp:nvSpPr>
      <dsp:spPr>
        <a:xfrm>
          <a:off x="12832908" y="3741814"/>
          <a:ext cx="3975003" cy="571091"/>
        </a:xfrm>
        <a:custGeom>
          <a:avLst/>
          <a:gdLst/>
          <a:ahLst/>
          <a:cxnLst/>
          <a:rect l="0" t="0" r="0" b="0"/>
          <a:pathLst>
            <a:path>
              <a:moveTo>
                <a:pt x="3975003" y="0"/>
              </a:moveTo>
              <a:lnTo>
                <a:pt x="3975003" y="389182"/>
              </a:lnTo>
              <a:lnTo>
                <a:pt x="0" y="389182"/>
              </a:lnTo>
              <a:lnTo>
                <a:pt x="0" y="571091"/>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88AF7F94-DB0A-F044-8776-B2A20A2D2686}">
      <dsp:nvSpPr>
        <dsp:cNvPr id="0" name=""/>
        <dsp:cNvSpPr/>
      </dsp:nvSpPr>
      <dsp:spPr>
        <a:xfrm>
          <a:off x="13620409" y="1923813"/>
          <a:ext cx="3187502" cy="571091"/>
        </a:xfrm>
        <a:custGeom>
          <a:avLst/>
          <a:gdLst/>
          <a:ahLst/>
          <a:cxnLst/>
          <a:rect l="0" t="0" r="0" b="0"/>
          <a:pathLst>
            <a:path>
              <a:moveTo>
                <a:pt x="0" y="0"/>
              </a:moveTo>
              <a:lnTo>
                <a:pt x="0" y="389182"/>
              </a:lnTo>
              <a:lnTo>
                <a:pt x="3187502" y="389182"/>
              </a:lnTo>
              <a:lnTo>
                <a:pt x="3187502" y="571091"/>
              </a:lnTo>
            </a:path>
          </a:pathLst>
        </a:cu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D9422978-523E-CD4F-8CF7-3BB498BE958D}">
      <dsp:nvSpPr>
        <dsp:cNvPr id="0" name=""/>
        <dsp:cNvSpPr/>
      </dsp:nvSpPr>
      <dsp:spPr>
        <a:xfrm>
          <a:off x="10387186" y="3741814"/>
          <a:ext cx="91440" cy="571091"/>
        </a:xfrm>
        <a:custGeom>
          <a:avLst/>
          <a:gdLst/>
          <a:ahLst/>
          <a:cxnLst/>
          <a:rect l="0" t="0" r="0" b="0"/>
          <a:pathLst>
            <a:path>
              <a:moveTo>
                <a:pt x="45720" y="0"/>
              </a:moveTo>
              <a:lnTo>
                <a:pt x="45720" y="571091"/>
              </a:lnTo>
            </a:path>
          </a:pathLst>
        </a:custGeom>
        <a:noFill/>
        <a:ln w="9525" cap="flat" cmpd="sng" algn="ctr">
          <a:solidFill>
            <a:schemeClr val="accent1">
              <a:shade val="8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DA21F375-A073-FB4E-A96B-7FBC9541A8F1}">
      <dsp:nvSpPr>
        <dsp:cNvPr id="0" name=""/>
        <dsp:cNvSpPr/>
      </dsp:nvSpPr>
      <dsp:spPr>
        <a:xfrm>
          <a:off x="10432906" y="1923813"/>
          <a:ext cx="3187502" cy="571091"/>
        </a:xfrm>
        <a:custGeom>
          <a:avLst/>
          <a:gdLst/>
          <a:ahLst/>
          <a:cxnLst/>
          <a:rect l="0" t="0" r="0" b="0"/>
          <a:pathLst>
            <a:path>
              <a:moveTo>
                <a:pt x="3187502" y="0"/>
              </a:moveTo>
              <a:lnTo>
                <a:pt x="3187502" y="389182"/>
              </a:lnTo>
              <a:lnTo>
                <a:pt x="0" y="389182"/>
              </a:lnTo>
              <a:lnTo>
                <a:pt x="0" y="571091"/>
              </a:lnTo>
            </a:path>
          </a:pathLst>
        </a:custGeom>
        <a:noFill/>
        <a:ln w="9525" cap="flat" cmpd="sng" algn="ctr">
          <a:solidFill>
            <a:schemeClr val="accent1">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9050CC20-909F-5248-96C4-4DF4753AA48C}">
      <dsp:nvSpPr>
        <dsp:cNvPr id="0" name=""/>
        <dsp:cNvSpPr/>
      </dsp:nvSpPr>
      <dsp:spPr>
        <a:xfrm>
          <a:off x="12638590" y="676903"/>
          <a:ext cx="1963638" cy="1246910"/>
        </a:xfrm>
        <a:prstGeom prst="roundRect">
          <a:avLst>
            <a:gd name="adj" fmla="val 10000"/>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82FE6A12-C625-6148-8699-AE7449FC7055}">
      <dsp:nvSpPr>
        <dsp:cNvPr id="0" name=""/>
        <dsp:cNvSpPr/>
      </dsp:nvSpPr>
      <dsp:spPr>
        <a:xfrm>
          <a:off x="12856772" y="884175"/>
          <a:ext cx="1963638" cy="1246910"/>
        </a:xfrm>
        <a:prstGeom prst="roundRect">
          <a:avLst>
            <a:gd name="adj" fmla="val 10000"/>
          </a:avLst>
        </a:prstGeom>
        <a:solidFill>
          <a:schemeClr val="accent2">
            <a:lumMod val="20000"/>
            <a:lumOff val="8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err="1" smtClean="0"/>
            <a:t>Winst</a:t>
          </a:r>
          <a:endParaRPr lang="en-US" sz="1900" kern="1200" dirty="0"/>
        </a:p>
      </dsp:txBody>
      <dsp:txXfrm>
        <a:off x="12893293" y="920696"/>
        <a:ext cx="1890596" cy="1173868"/>
      </dsp:txXfrm>
    </dsp:sp>
    <dsp:sp modelId="{7A368920-6EB9-3D45-81F4-2DF243B8D7B5}">
      <dsp:nvSpPr>
        <dsp:cNvPr id="0" name=""/>
        <dsp:cNvSpPr/>
      </dsp:nvSpPr>
      <dsp:spPr>
        <a:xfrm>
          <a:off x="9451087" y="2494904"/>
          <a:ext cx="1963638" cy="1246910"/>
        </a:xfrm>
        <a:prstGeom prst="roundRect">
          <a:avLst>
            <a:gd name="adj" fmla="val 10000"/>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63B7A575-DE96-8645-AC5B-E6A39AF5DC6C}">
      <dsp:nvSpPr>
        <dsp:cNvPr id="0" name=""/>
        <dsp:cNvSpPr/>
      </dsp:nvSpPr>
      <dsp:spPr>
        <a:xfrm>
          <a:off x="9669269" y="2702177"/>
          <a:ext cx="1963638" cy="1246910"/>
        </a:xfrm>
        <a:prstGeom prst="roundRect">
          <a:avLst>
            <a:gd name="adj" fmla="val 10000"/>
          </a:avLst>
        </a:prstGeom>
        <a:solidFill>
          <a:schemeClr val="accent2">
            <a:lumMod val="20000"/>
            <a:lumOff val="8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Marge</a:t>
          </a:r>
          <a:endParaRPr lang="en-US" sz="1900" kern="1200" dirty="0"/>
        </a:p>
      </dsp:txBody>
      <dsp:txXfrm>
        <a:off x="9705790" y="2738698"/>
        <a:ext cx="1890596" cy="1173868"/>
      </dsp:txXfrm>
    </dsp:sp>
    <dsp:sp modelId="{B7350A6E-394F-BB43-BE94-4E26FED2EBD2}">
      <dsp:nvSpPr>
        <dsp:cNvPr id="0" name=""/>
        <dsp:cNvSpPr/>
      </dsp:nvSpPr>
      <dsp:spPr>
        <a:xfrm>
          <a:off x="9451087" y="4312906"/>
          <a:ext cx="1963638" cy="1246910"/>
        </a:xfrm>
        <a:prstGeom prst="roundRect">
          <a:avLst>
            <a:gd name="adj" fmla="val 10000"/>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C70A0475-1CC2-774A-8C22-A2353C6785EC}">
      <dsp:nvSpPr>
        <dsp:cNvPr id="0" name=""/>
        <dsp:cNvSpPr/>
      </dsp:nvSpPr>
      <dsp:spPr>
        <a:xfrm>
          <a:off x="9669269" y="4520179"/>
          <a:ext cx="1963638" cy="1246910"/>
        </a:xfrm>
        <a:prstGeom prst="roundRect">
          <a:avLst>
            <a:gd name="adj" fmla="val 10000"/>
          </a:avLst>
        </a:prstGeom>
        <a:solidFill>
          <a:schemeClr val="accent2">
            <a:lumMod val="20000"/>
            <a:lumOff val="8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Product Mix</a:t>
          </a:r>
          <a:endParaRPr lang="en-US" sz="1900" kern="1200" dirty="0"/>
        </a:p>
      </dsp:txBody>
      <dsp:txXfrm>
        <a:off x="9705790" y="4556700"/>
        <a:ext cx="1890596" cy="1173868"/>
      </dsp:txXfrm>
    </dsp:sp>
    <dsp:sp modelId="{427BAE15-FB5D-CF46-B60E-EE174256773F}">
      <dsp:nvSpPr>
        <dsp:cNvPr id="0" name=""/>
        <dsp:cNvSpPr/>
      </dsp:nvSpPr>
      <dsp:spPr>
        <a:xfrm>
          <a:off x="15826093" y="2494904"/>
          <a:ext cx="1963638" cy="1246910"/>
        </a:xfrm>
        <a:prstGeom prst="roundRect">
          <a:avLst>
            <a:gd name="adj" fmla="val 10000"/>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73BA27F4-3664-6B4F-871E-ED38BC6294D2}">
      <dsp:nvSpPr>
        <dsp:cNvPr id="0" name=""/>
        <dsp:cNvSpPr/>
      </dsp:nvSpPr>
      <dsp:spPr>
        <a:xfrm>
          <a:off x="16044275" y="2702177"/>
          <a:ext cx="1963638" cy="1246910"/>
        </a:xfrm>
        <a:prstGeom prst="roundRect">
          <a:avLst>
            <a:gd name="adj" fmla="val 10000"/>
          </a:avLst>
        </a:prstGeom>
        <a:solidFill>
          <a:schemeClr val="accent2">
            <a:lumMod val="20000"/>
            <a:lumOff val="8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err="1" smtClean="0"/>
            <a:t>Omzet</a:t>
          </a:r>
          <a:endParaRPr lang="en-US" sz="1900" kern="1200" dirty="0"/>
        </a:p>
      </dsp:txBody>
      <dsp:txXfrm>
        <a:off x="16080796" y="2738698"/>
        <a:ext cx="1890596" cy="1173868"/>
      </dsp:txXfrm>
    </dsp:sp>
    <dsp:sp modelId="{AEEAB671-2D1B-D443-A46C-C1C1A416D93A}">
      <dsp:nvSpPr>
        <dsp:cNvPr id="0" name=""/>
        <dsp:cNvSpPr/>
      </dsp:nvSpPr>
      <dsp:spPr>
        <a:xfrm>
          <a:off x="11851089" y="4312906"/>
          <a:ext cx="1963638" cy="1246910"/>
        </a:xfrm>
        <a:prstGeom prst="roundRect">
          <a:avLst>
            <a:gd name="adj" fmla="val 10000"/>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0F86F561-35CE-1D4C-B6D8-F85682496E29}">
      <dsp:nvSpPr>
        <dsp:cNvPr id="0" name=""/>
        <dsp:cNvSpPr/>
      </dsp:nvSpPr>
      <dsp:spPr>
        <a:xfrm>
          <a:off x="12069271" y="4520179"/>
          <a:ext cx="1963638" cy="1246910"/>
        </a:xfrm>
        <a:prstGeom prst="roundRect">
          <a:avLst>
            <a:gd name="adj" fmla="val 10000"/>
          </a:avLst>
        </a:prstGeom>
        <a:solidFill>
          <a:schemeClr val="accent2">
            <a:lumMod val="20000"/>
            <a:lumOff val="8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Revenue Per Visitor</a:t>
          </a:r>
          <a:endParaRPr lang="en-US" sz="1900" kern="1200" dirty="0"/>
        </a:p>
      </dsp:txBody>
      <dsp:txXfrm>
        <a:off x="12105792" y="4556700"/>
        <a:ext cx="1890596" cy="1173868"/>
      </dsp:txXfrm>
    </dsp:sp>
    <dsp:sp modelId="{FDE0AEF6-A34A-8342-9A8E-A03414AE2766}">
      <dsp:nvSpPr>
        <dsp:cNvPr id="0" name=""/>
        <dsp:cNvSpPr/>
      </dsp:nvSpPr>
      <dsp:spPr>
        <a:xfrm>
          <a:off x="7501085" y="6130907"/>
          <a:ext cx="1963638" cy="1246910"/>
        </a:xfrm>
        <a:prstGeom prst="roundRect">
          <a:avLst>
            <a:gd name="adj" fmla="val 10000"/>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138A536F-7683-004E-B24D-20AF4521B901}">
      <dsp:nvSpPr>
        <dsp:cNvPr id="0" name=""/>
        <dsp:cNvSpPr/>
      </dsp:nvSpPr>
      <dsp:spPr>
        <a:xfrm>
          <a:off x="7719267" y="6338180"/>
          <a:ext cx="1963638" cy="1246910"/>
        </a:xfrm>
        <a:prstGeom prst="roundRect">
          <a:avLst>
            <a:gd name="adj" fmla="val 10000"/>
          </a:avLst>
        </a:prstGeom>
        <a:solidFill>
          <a:schemeClr val="accent2">
            <a:lumMod val="60000"/>
            <a:lumOff val="4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err="1" smtClean="0"/>
            <a:t>Conversie</a:t>
          </a:r>
          <a:endParaRPr lang="en-US" sz="1900" kern="1200" dirty="0"/>
        </a:p>
      </dsp:txBody>
      <dsp:txXfrm>
        <a:off x="7755788" y="6374701"/>
        <a:ext cx="1890596" cy="1173868"/>
      </dsp:txXfrm>
    </dsp:sp>
    <dsp:sp modelId="{DB7226B8-A6A0-9647-83EE-4AF67924B5DE}">
      <dsp:nvSpPr>
        <dsp:cNvPr id="0" name=""/>
        <dsp:cNvSpPr/>
      </dsp:nvSpPr>
      <dsp:spPr>
        <a:xfrm>
          <a:off x="2401081" y="7948909"/>
          <a:ext cx="1963638" cy="1246910"/>
        </a:xfrm>
        <a:prstGeom prst="roundRect">
          <a:avLst>
            <a:gd name="adj" fmla="val 10000"/>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518508A5-E43B-D543-B40E-DE0B1130963D}">
      <dsp:nvSpPr>
        <dsp:cNvPr id="0" name=""/>
        <dsp:cNvSpPr/>
      </dsp:nvSpPr>
      <dsp:spPr>
        <a:xfrm>
          <a:off x="2619263" y="8156182"/>
          <a:ext cx="1963638" cy="1246910"/>
        </a:xfrm>
        <a:prstGeom prst="roundRect">
          <a:avLst>
            <a:gd name="adj" fmla="val 10000"/>
          </a:avLst>
        </a:prstGeom>
        <a:solidFill>
          <a:schemeClr val="accent2">
            <a:lumMod val="20000"/>
            <a:lumOff val="8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Number of Steps</a:t>
          </a:r>
          <a:endParaRPr lang="en-US" sz="1900" kern="1200" dirty="0"/>
        </a:p>
      </dsp:txBody>
      <dsp:txXfrm>
        <a:off x="2655784" y="8192703"/>
        <a:ext cx="1890596" cy="1173868"/>
      </dsp:txXfrm>
    </dsp:sp>
    <dsp:sp modelId="{79F57F85-F418-E44C-987A-F9F3393C53E7}">
      <dsp:nvSpPr>
        <dsp:cNvPr id="0" name=""/>
        <dsp:cNvSpPr/>
      </dsp:nvSpPr>
      <dsp:spPr>
        <a:xfrm>
          <a:off x="1079" y="9766911"/>
          <a:ext cx="1963638" cy="1246910"/>
        </a:xfrm>
        <a:prstGeom prst="roundRect">
          <a:avLst>
            <a:gd name="adj" fmla="val 10000"/>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07B98606-11FE-CA48-8422-B298E5C42992}">
      <dsp:nvSpPr>
        <dsp:cNvPr id="0" name=""/>
        <dsp:cNvSpPr/>
      </dsp:nvSpPr>
      <dsp:spPr>
        <a:xfrm>
          <a:off x="219261" y="9974184"/>
          <a:ext cx="1963638" cy="1246910"/>
        </a:xfrm>
        <a:prstGeom prst="roundRect">
          <a:avLst>
            <a:gd name="adj" fmla="val 10000"/>
          </a:avLst>
        </a:prstGeom>
        <a:solidFill>
          <a:schemeClr val="accent3">
            <a:lumMod val="40000"/>
            <a:lumOff val="6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Pre-fill data</a:t>
          </a:r>
          <a:endParaRPr lang="en-US" sz="1900" kern="1200" dirty="0"/>
        </a:p>
      </dsp:txBody>
      <dsp:txXfrm>
        <a:off x="255782" y="10010705"/>
        <a:ext cx="1890596" cy="1173868"/>
      </dsp:txXfrm>
    </dsp:sp>
    <dsp:sp modelId="{A0D537F5-FBE3-714F-928F-348A62D6B38B}">
      <dsp:nvSpPr>
        <dsp:cNvPr id="0" name=""/>
        <dsp:cNvSpPr/>
      </dsp:nvSpPr>
      <dsp:spPr>
        <a:xfrm>
          <a:off x="2401081" y="9766911"/>
          <a:ext cx="1963638" cy="1246910"/>
        </a:xfrm>
        <a:prstGeom prst="roundRect">
          <a:avLst>
            <a:gd name="adj" fmla="val 10000"/>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CF122DAB-A066-7E44-8FA3-442C022AEA85}">
      <dsp:nvSpPr>
        <dsp:cNvPr id="0" name=""/>
        <dsp:cNvSpPr/>
      </dsp:nvSpPr>
      <dsp:spPr>
        <a:xfrm>
          <a:off x="2619263" y="9974184"/>
          <a:ext cx="1963638" cy="1246910"/>
        </a:xfrm>
        <a:prstGeom prst="roundRect">
          <a:avLst>
            <a:gd name="adj" fmla="val 10000"/>
          </a:avLst>
        </a:prstGeom>
        <a:solidFill>
          <a:schemeClr val="accent3">
            <a:lumMod val="40000"/>
            <a:lumOff val="6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Ease of Use</a:t>
          </a:r>
          <a:endParaRPr lang="en-US" sz="1900" kern="1200" dirty="0"/>
        </a:p>
      </dsp:txBody>
      <dsp:txXfrm>
        <a:off x="2655784" y="10010705"/>
        <a:ext cx="1890596" cy="1173868"/>
      </dsp:txXfrm>
    </dsp:sp>
    <dsp:sp modelId="{3601B935-0BB7-8546-9694-07DB6C0B89FA}">
      <dsp:nvSpPr>
        <dsp:cNvPr id="0" name=""/>
        <dsp:cNvSpPr/>
      </dsp:nvSpPr>
      <dsp:spPr>
        <a:xfrm>
          <a:off x="4801083" y="9766911"/>
          <a:ext cx="1963638" cy="1246910"/>
        </a:xfrm>
        <a:prstGeom prst="roundRect">
          <a:avLst>
            <a:gd name="adj" fmla="val 10000"/>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212EEA2B-6397-6142-B487-01466663B327}">
      <dsp:nvSpPr>
        <dsp:cNvPr id="0" name=""/>
        <dsp:cNvSpPr/>
      </dsp:nvSpPr>
      <dsp:spPr>
        <a:xfrm>
          <a:off x="5019265" y="9974184"/>
          <a:ext cx="1963638" cy="1246910"/>
        </a:xfrm>
        <a:prstGeom prst="roundRect">
          <a:avLst>
            <a:gd name="adj" fmla="val 10000"/>
          </a:avLst>
        </a:prstGeom>
        <a:solidFill>
          <a:schemeClr val="accent3">
            <a:lumMod val="40000"/>
            <a:lumOff val="6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User Flow</a:t>
          </a:r>
          <a:endParaRPr lang="en-US" sz="1900" kern="1200" dirty="0"/>
        </a:p>
      </dsp:txBody>
      <dsp:txXfrm>
        <a:off x="5055786" y="10010705"/>
        <a:ext cx="1890596" cy="1173868"/>
      </dsp:txXfrm>
    </dsp:sp>
    <dsp:sp modelId="{55A028E3-9F76-5C46-AD58-CB2D44B5DE09}">
      <dsp:nvSpPr>
        <dsp:cNvPr id="0" name=""/>
        <dsp:cNvSpPr/>
      </dsp:nvSpPr>
      <dsp:spPr>
        <a:xfrm>
          <a:off x="12601090" y="7948909"/>
          <a:ext cx="1963638" cy="1246910"/>
        </a:xfrm>
        <a:prstGeom prst="roundRect">
          <a:avLst>
            <a:gd name="adj" fmla="val 10000"/>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ECB6BE80-AC9C-CE49-B2E7-28D9FEBE13B5}">
      <dsp:nvSpPr>
        <dsp:cNvPr id="0" name=""/>
        <dsp:cNvSpPr/>
      </dsp:nvSpPr>
      <dsp:spPr>
        <a:xfrm>
          <a:off x="12819272" y="8156182"/>
          <a:ext cx="1963638" cy="1246910"/>
        </a:xfrm>
        <a:prstGeom prst="roundRect">
          <a:avLst>
            <a:gd name="adj" fmla="val 10000"/>
          </a:avLst>
        </a:prstGeom>
        <a:solidFill>
          <a:schemeClr val="accent2">
            <a:lumMod val="20000"/>
            <a:lumOff val="8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Completion Rate</a:t>
          </a:r>
          <a:endParaRPr lang="en-US" sz="1900" kern="1200" dirty="0"/>
        </a:p>
      </dsp:txBody>
      <dsp:txXfrm>
        <a:off x="12855793" y="8192703"/>
        <a:ext cx="1890596" cy="1173868"/>
      </dsp:txXfrm>
    </dsp:sp>
    <dsp:sp modelId="{9C81A0D5-5419-354C-9E94-C35569F2ABF5}">
      <dsp:nvSpPr>
        <dsp:cNvPr id="0" name=""/>
        <dsp:cNvSpPr/>
      </dsp:nvSpPr>
      <dsp:spPr>
        <a:xfrm>
          <a:off x="7201085" y="9766911"/>
          <a:ext cx="1963638" cy="1246910"/>
        </a:xfrm>
        <a:prstGeom prst="roundRect">
          <a:avLst>
            <a:gd name="adj" fmla="val 10000"/>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134BD606-4D56-8646-8943-99D7AFE43949}">
      <dsp:nvSpPr>
        <dsp:cNvPr id="0" name=""/>
        <dsp:cNvSpPr/>
      </dsp:nvSpPr>
      <dsp:spPr>
        <a:xfrm>
          <a:off x="7419267" y="9974184"/>
          <a:ext cx="1963638" cy="1246910"/>
        </a:xfrm>
        <a:prstGeom prst="roundRect">
          <a:avLst>
            <a:gd name="adj" fmla="val 10000"/>
          </a:avLst>
        </a:prstGeom>
        <a:solidFill>
          <a:schemeClr val="accent3">
            <a:lumMod val="40000"/>
            <a:lumOff val="6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Calls to Action</a:t>
          </a:r>
          <a:endParaRPr lang="en-US" sz="1900" kern="1200" dirty="0"/>
        </a:p>
      </dsp:txBody>
      <dsp:txXfrm>
        <a:off x="7455788" y="10010705"/>
        <a:ext cx="1890596" cy="1173868"/>
      </dsp:txXfrm>
    </dsp:sp>
    <dsp:sp modelId="{3790961E-D16E-0644-899C-CCCF0EA6410B}">
      <dsp:nvSpPr>
        <dsp:cNvPr id="0" name=""/>
        <dsp:cNvSpPr/>
      </dsp:nvSpPr>
      <dsp:spPr>
        <a:xfrm>
          <a:off x="4801083" y="11584912"/>
          <a:ext cx="1963638" cy="1246910"/>
        </a:xfrm>
        <a:prstGeom prst="roundRect">
          <a:avLst>
            <a:gd name="adj" fmla="val 10000"/>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C49EAA8B-EE1F-CA48-8B03-2A7021ADE29D}">
      <dsp:nvSpPr>
        <dsp:cNvPr id="0" name=""/>
        <dsp:cNvSpPr/>
      </dsp:nvSpPr>
      <dsp:spPr>
        <a:xfrm>
          <a:off x="5019265" y="11792185"/>
          <a:ext cx="1963638" cy="1246910"/>
        </a:xfrm>
        <a:prstGeom prst="roundRect">
          <a:avLst>
            <a:gd name="adj" fmla="val 10000"/>
          </a:avLst>
        </a:prstGeom>
        <a:solidFill>
          <a:schemeClr val="accent3">
            <a:lumMod val="40000"/>
            <a:lumOff val="6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err="1" smtClean="0"/>
            <a:t>Formaat</a:t>
          </a:r>
          <a:endParaRPr lang="en-US" sz="1900" kern="1200" dirty="0"/>
        </a:p>
      </dsp:txBody>
      <dsp:txXfrm>
        <a:off x="5055786" y="11828706"/>
        <a:ext cx="1890596" cy="1173868"/>
      </dsp:txXfrm>
    </dsp:sp>
    <dsp:sp modelId="{2E362A95-1751-7345-B0C4-23CF52CC693A}">
      <dsp:nvSpPr>
        <dsp:cNvPr id="0" name=""/>
        <dsp:cNvSpPr/>
      </dsp:nvSpPr>
      <dsp:spPr>
        <a:xfrm>
          <a:off x="7201085" y="11584912"/>
          <a:ext cx="1963638" cy="1246910"/>
        </a:xfrm>
        <a:prstGeom prst="roundRect">
          <a:avLst>
            <a:gd name="adj" fmla="val 10000"/>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16A8F599-108A-BE46-B875-19727052ADF8}">
      <dsp:nvSpPr>
        <dsp:cNvPr id="0" name=""/>
        <dsp:cNvSpPr/>
      </dsp:nvSpPr>
      <dsp:spPr>
        <a:xfrm>
          <a:off x="7419267" y="11792185"/>
          <a:ext cx="1963638" cy="1246910"/>
        </a:xfrm>
        <a:prstGeom prst="roundRect">
          <a:avLst>
            <a:gd name="adj" fmla="val 10000"/>
          </a:avLst>
        </a:prstGeom>
        <a:solidFill>
          <a:schemeClr val="accent3">
            <a:lumMod val="40000"/>
            <a:lumOff val="6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err="1" smtClean="0"/>
            <a:t>Kleur</a:t>
          </a:r>
          <a:endParaRPr lang="en-US" sz="1900" kern="1200" dirty="0"/>
        </a:p>
      </dsp:txBody>
      <dsp:txXfrm>
        <a:off x="7455788" y="11828706"/>
        <a:ext cx="1890596" cy="1173868"/>
      </dsp:txXfrm>
    </dsp:sp>
    <dsp:sp modelId="{4097E5AA-1B44-564F-A667-7A49BD2DD1A4}">
      <dsp:nvSpPr>
        <dsp:cNvPr id="0" name=""/>
        <dsp:cNvSpPr/>
      </dsp:nvSpPr>
      <dsp:spPr>
        <a:xfrm>
          <a:off x="9601087" y="11584912"/>
          <a:ext cx="1963638" cy="1246910"/>
        </a:xfrm>
        <a:prstGeom prst="roundRect">
          <a:avLst>
            <a:gd name="adj" fmla="val 10000"/>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B9A61C76-A7E3-6A4F-BB7E-2E9872B00A1A}">
      <dsp:nvSpPr>
        <dsp:cNvPr id="0" name=""/>
        <dsp:cNvSpPr/>
      </dsp:nvSpPr>
      <dsp:spPr>
        <a:xfrm>
          <a:off x="9819269" y="11792185"/>
          <a:ext cx="1963638" cy="1246910"/>
        </a:xfrm>
        <a:prstGeom prst="roundRect">
          <a:avLst>
            <a:gd name="adj" fmla="val 10000"/>
          </a:avLst>
        </a:prstGeom>
        <a:solidFill>
          <a:schemeClr val="accent3">
            <a:lumMod val="40000"/>
            <a:lumOff val="6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Text</a:t>
          </a:r>
          <a:endParaRPr lang="en-US" sz="1900" kern="1200" dirty="0"/>
        </a:p>
      </dsp:txBody>
      <dsp:txXfrm>
        <a:off x="9855790" y="11828706"/>
        <a:ext cx="1890596" cy="1173868"/>
      </dsp:txXfrm>
    </dsp:sp>
    <dsp:sp modelId="{A3384784-EA74-AF47-9299-41BC3A206A80}">
      <dsp:nvSpPr>
        <dsp:cNvPr id="0" name=""/>
        <dsp:cNvSpPr/>
      </dsp:nvSpPr>
      <dsp:spPr>
        <a:xfrm>
          <a:off x="9601087" y="9766911"/>
          <a:ext cx="1963638" cy="1246910"/>
        </a:xfrm>
        <a:prstGeom prst="roundRect">
          <a:avLst>
            <a:gd name="adj" fmla="val 10000"/>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4F751C59-FDD2-E64C-BCA6-3266CEAE30D8}">
      <dsp:nvSpPr>
        <dsp:cNvPr id="0" name=""/>
        <dsp:cNvSpPr/>
      </dsp:nvSpPr>
      <dsp:spPr>
        <a:xfrm>
          <a:off x="9819269" y="9974184"/>
          <a:ext cx="1963638" cy="1246910"/>
        </a:xfrm>
        <a:prstGeom prst="roundRect">
          <a:avLst>
            <a:gd name="adj" fmla="val 10000"/>
          </a:avLst>
        </a:prstGeom>
        <a:solidFill>
          <a:schemeClr val="accent3">
            <a:lumMod val="40000"/>
            <a:lumOff val="6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err="1" smtClean="0"/>
            <a:t>Personalizatie</a:t>
          </a:r>
          <a:endParaRPr lang="en-US" sz="1900" kern="1200" dirty="0"/>
        </a:p>
      </dsp:txBody>
      <dsp:txXfrm>
        <a:off x="9855790" y="10010705"/>
        <a:ext cx="1890596" cy="1173868"/>
      </dsp:txXfrm>
    </dsp:sp>
    <dsp:sp modelId="{2AB36511-AAD8-004E-A5BA-EBB68D85F619}">
      <dsp:nvSpPr>
        <dsp:cNvPr id="0" name=""/>
        <dsp:cNvSpPr/>
      </dsp:nvSpPr>
      <dsp:spPr>
        <a:xfrm>
          <a:off x="13201090" y="9766911"/>
          <a:ext cx="1963638" cy="1246910"/>
        </a:xfrm>
        <a:prstGeom prst="roundRect">
          <a:avLst>
            <a:gd name="adj" fmla="val 10000"/>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805252F1-943A-1D4B-9D69-86B092705AB5}">
      <dsp:nvSpPr>
        <dsp:cNvPr id="0" name=""/>
        <dsp:cNvSpPr/>
      </dsp:nvSpPr>
      <dsp:spPr>
        <a:xfrm>
          <a:off x="13419272" y="9974184"/>
          <a:ext cx="1963638" cy="1246910"/>
        </a:xfrm>
        <a:prstGeom prst="roundRect">
          <a:avLst>
            <a:gd name="adj" fmla="val 10000"/>
          </a:avLst>
        </a:prstGeom>
        <a:solidFill>
          <a:schemeClr val="accent3">
            <a:lumMod val="40000"/>
            <a:lumOff val="6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Unique Selling Points</a:t>
          </a:r>
          <a:endParaRPr lang="en-US" sz="1900" kern="1200" dirty="0"/>
        </a:p>
      </dsp:txBody>
      <dsp:txXfrm>
        <a:off x="13455793" y="10010705"/>
        <a:ext cx="1890596" cy="1173868"/>
      </dsp:txXfrm>
    </dsp:sp>
    <dsp:sp modelId="{5E6FDB3B-E728-B449-9FD0-C3FB0B549FB8}">
      <dsp:nvSpPr>
        <dsp:cNvPr id="0" name=""/>
        <dsp:cNvSpPr/>
      </dsp:nvSpPr>
      <dsp:spPr>
        <a:xfrm>
          <a:off x="12001089" y="11584912"/>
          <a:ext cx="1963638" cy="1246910"/>
        </a:xfrm>
        <a:prstGeom prst="roundRect">
          <a:avLst>
            <a:gd name="adj" fmla="val 10000"/>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E79F91F4-191E-7945-9998-14AA60B617D3}">
      <dsp:nvSpPr>
        <dsp:cNvPr id="0" name=""/>
        <dsp:cNvSpPr/>
      </dsp:nvSpPr>
      <dsp:spPr>
        <a:xfrm>
          <a:off x="12219271" y="11792185"/>
          <a:ext cx="1963638" cy="1246910"/>
        </a:xfrm>
        <a:prstGeom prst="roundRect">
          <a:avLst>
            <a:gd name="adj" fmla="val 10000"/>
          </a:avLst>
        </a:prstGeom>
        <a:solidFill>
          <a:schemeClr val="accent3">
            <a:lumMod val="40000"/>
            <a:lumOff val="6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Location</a:t>
          </a:r>
          <a:endParaRPr lang="en-US" sz="1900" kern="1200" dirty="0"/>
        </a:p>
      </dsp:txBody>
      <dsp:txXfrm>
        <a:off x="12255792" y="11828706"/>
        <a:ext cx="1890596" cy="1173868"/>
      </dsp:txXfrm>
    </dsp:sp>
    <dsp:sp modelId="{607B1C25-8305-5943-9375-D877A4144D46}">
      <dsp:nvSpPr>
        <dsp:cNvPr id="0" name=""/>
        <dsp:cNvSpPr/>
      </dsp:nvSpPr>
      <dsp:spPr>
        <a:xfrm>
          <a:off x="14401091" y="11584912"/>
          <a:ext cx="1963638" cy="1246910"/>
        </a:xfrm>
        <a:prstGeom prst="roundRect">
          <a:avLst>
            <a:gd name="adj" fmla="val 10000"/>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038960CE-3E76-AF48-8AE9-FA6E04D38AC3}">
      <dsp:nvSpPr>
        <dsp:cNvPr id="0" name=""/>
        <dsp:cNvSpPr/>
      </dsp:nvSpPr>
      <dsp:spPr>
        <a:xfrm>
          <a:off x="14619273" y="11792185"/>
          <a:ext cx="1963638" cy="1246910"/>
        </a:xfrm>
        <a:prstGeom prst="roundRect">
          <a:avLst>
            <a:gd name="adj" fmla="val 10000"/>
          </a:avLst>
        </a:prstGeom>
        <a:solidFill>
          <a:schemeClr val="accent3">
            <a:lumMod val="40000"/>
            <a:lumOff val="6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Timing</a:t>
          </a:r>
          <a:endParaRPr lang="en-US" sz="1900" kern="1200" dirty="0"/>
        </a:p>
      </dsp:txBody>
      <dsp:txXfrm>
        <a:off x="14655794" y="11828706"/>
        <a:ext cx="1890596" cy="1173868"/>
      </dsp:txXfrm>
    </dsp:sp>
    <dsp:sp modelId="{D03E4FC9-F0FF-F14D-902B-1051491F290A}">
      <dsp:nvSpPr>
        <dsp:cNvPr id="0" name=""/>
        <dsp:cNvSpPr/>
      </dsp:nvSpPr>
      <dsp:spPr>
        <a:xfrm>
          <a:off x="15601092" y="9766911"/>
          <a:ext cx="1963638" cy="1246910"/>
        </a:xfrm>
        <a:prstGeom prst="roundRect">
          <a:avLst>
            <a:gd name="adj" fmla="val 10000"/>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4D203E00-9AEF-5841-8AB7-3D322CC00120}">
      <dsp:nvSpPr>
        <dsp:cNvPr id="0" name=""/>
        <dsp:cNvSpPr/>
      </dsp:nvSpPr>
      <dsp:spPr>
        <a:xfrm>
          <a:off x="15819274" y="9974184"/>
          <a:ext cx="1963638" cy="1246910"/>
        </a:xfrm>
        <a:prstGeom prst="roundRect">
          <a:avLst>
            <a:gd name="adj" fmla="val 10000"/>
          </a:avLst>
        </a:prstGeom>
        <a:solidFill>
          <a:schemeClr val="accent3">
            <a:lumMod val="40000"/>
            <a:lumOff val="6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Urgency</a:t>
          </a:r>
          <a:endParaRPr lang="en-US" sz="1900" kern="1200" dirty="0"/>
        </a:p>
      </dsp:txBody>
      <dsp:txXfrm>
        <a:off x="15855795" y="10010705"/>
        <a:ext cx="1890596" cy="1173868"/>
      </dsp:txXfrm>
    </dsp:sp>
    <dsp:sp modelId="{025894E3-A648-5242-A3C0-7EAC2A001FCC}">
      <dsp:nvSpPr>
        <dsp:cNvPr id="0" name=""/>
        <dsp:cNvSpPr/>
      </dsp:nvSpPr>
      <dsp:spPr>
        <a:xfrm>
          <a:off x="18001095" y="9766911"/>
          <a:ext cx="1963638" cy="1246910"/>
        </a:xfrm>
        <a:prstGeom prst="roundRect">
          <a:avLst>
            <a:gd name="adj" fmla="val 10000"/>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3BE7867F-A653-5C44-8CF1-7ED8AEFFAC8D}">
      <dsp:nvSpPr>
        <dsp:cNvPr id="0" name=""/>
        <dsp:cNvSpPr/>
      </dsp:nvSpPr>
      <dsp:spPr>
        <a:xfrm>
          <a:off x="18219277" y="9974184"/>
          <a:ext cx="1963638" cy="1246910"/>
        </a:xfrm>
        <a:prstGeom prst="roundRect">
          <a:avLst>
            <a:gd name="adj" fmla="val 10000"/>
          </a:avLst>
        </a:prstGeom>
        <a:solidFill>
          <a:schemeClr val="accent3">
            <a:lumMod val="40000"/>
            <a:lumOff val="6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Distractions</a:t>
          </a:r>
          <a:endParaRPr lang="en-US" sz="1900" kern="1200" dirty="0"/>
        </a:p>
      </dsp:txBody>
      <dsp:txXfrm>
        <a:off x="18255798" y="10010705"/>
        <a:ext cx="1890596" cy="1173868"/>
      </dsp:txXfrm>
    </dsp:sp>
    <dsp:sp modelId="{A1D5ED37-5F4B-FD47-835D-99F0047A7CB4}">
      <dsp:nvSpPr>
        <dsp:cNvPr id="0" name=""/>
        <dsp:cNvSpPr/>
      </dsp:nvSpPr>
      <dsp:spPr>
        <a:xfrm>
          <a:off x="16201093" y="6130907"/>
          <a:ext cx="1963638" cy="1246910"/>
        </a:xfrm>
        <a:prstGeom prst="roundRect">
          <a:avLst>
            <a:gd name="adj" fmla="val 10000"/>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CDEA9509-B499-424C-96B8-734413276BCE}">
      <dsp:nvSpPr>
        <dsp:cNvPr id="0" name=""/>
        <dsp:cNvSpPr/>
      </dsp:nvSpPr>
      <dsp:spPr>
        <a:xfrm>
          <a:off x="16419275" y="6338180"/>
          <a:ext cx="1963638" cy="1246910"/>
        </a:xfrm>
        <a:prstGeom prst="roundRect">
          <a:avLst>
            <a:gd name="adj" fmla="val 10000"/>
          </a:avLst>
        </a:prstGeom>
        <a:solidFill>
          <a:schemeClr val="accent2">
            <a:lumMod val="20000"/>
            <a:lumOff val="8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Average Order Value</a:t>
          </a:r>
          <a:endParaRPr lang="en-US" sz="1900" kern="1200" dirty="0"/>
        </a:p>
      </dsp:txBody>
      <dsp:txXfrm>
        <a:off x="16455796" y="6374701"/>
        <a:ext cx="1890596" cy="1173868"/>
      </dsp:txXfrm>
    </dsp:sp>
    <dsp:sp modelId="{CC85ABB0-CF0D-414C-A508-180EF7460FF7}">
      <dsp:nvSpPr>
        <dsp:cNvPr id="0" name=""/>
        <dsp:cNvSpPr/>
      </dsp:nvSpPr>
      <dsp:spPr>
        <a:xfrm>
          <a:off x="15001092" y="7948909"/>
          <a:ext cx="1963638" cy="1246910"/>
        </a:xfrm>
        <a:prstGeom prst="roundRect">
          <a:avLst>
            <a:gd name="adj" fmla="val 10000"/>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68894350-48FC-5C49-9AC0-0472B7D6BED6}">
      <dsp:nvSpPr>
        <dsp:cNvPr id="0" name=""/>
        <dsp:cNvSpPr/>
      </dsp:nvSpPr>
      <dsp:spPr>
        <a:xfrm>
          <a:off x="15219274" y="8156182"/>
          <a:ext cx="1963638" cy="1246910"/>
        </a:xfrm>
        <a:prstGeom prst="roundRect">
          <a:avLst>
            <a:gd name="adj" fmla="val 10000"/>
          </a:avLst>
        </a:prstGeom>
        <a:solidFill>
          <a:schemeClr val="accent3">
            <a:lumMod val="40000"/>
            <a:lumOff val="6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Upsell</a:t>
          </a:r>
          <a:endParaRPr lang="en-US" sz="1900" kern="1200" dirty="0"/>
        </a:p>
      </dsp:txBody>
      <dsp:txXfrm>
        <a:off x="15255795" y="8192703"/>
        <a:ext cx="1890596" cy="1173868"/>
      </dsp:txXfrm>
    </dsp:sp>
    <dsp:sp modelId="{010C2457-3415-2E4C-9AFB-24EFE7EE5034}">
      <dsp:nvSpPr>
        <dsp:cNvPr id="0" name=""/>
        <dsp:cNvSpPr/>
      </dsp:nvSpPr>
      <dsp:spPr>
        <a:xfrm>
          <a:off x="17401094" y="7948909"/>
          <a:ext cx="1963638" cy="1246910"/>
        </a:xfrm>
        <a:prstGeom prst="roundRect">
          <a:avLst>
            <a:gd name="adj" fmla="val 10000"/>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DA32121B-EA4F-E843-8B95-EFE81D6F3E1D}">
      <dsp:nvSpPr>
        <dsp:cNvPr id="0" name=""/>
        <dsp:cNvSpPr/>
      </dsp:nvSpPr>
      <dsp:spPr>
        <a:xfrm>
          <a:off x="17619276" y="8156182"/>
          <a:ext cx="1963638" cy="1246910"/>
        </a:xfrm>
        <a:prstGeom prst="roundRect">
          <a:avLst>
            <a:gd name="adj" fmla="val 10000"/>
          </a:avLst>
        </a:prstGeom>
        <a:solidFill>
          <a:schemeClr val="accent3">
            <a:lumMod val="40000"/>
            <a:lumOff val="6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Cross-selling</a:t>
          </a:r>
          <a:endParaRPr lang="en-US" sz="1900" kern="1200" dirty="0"/>
        </a:p>
      </dsp:txBody>
      <dsp:txXfrm>
        <a:off x="17655797" y="8192703"/>
        <a:ext cx="1890596" cy="1173868"/>
      </dsp:txXfrm>
    </dsp:sp>
    <dsp:sp modelId="{68FB325A-3F6B-E348-9FBC-75B9545F0906}">
      <dsp:nvSpPr>
        <dsp:cNvPr id="0" name=""/>
        <dsp:cNvSpPr/>
      </dsp:nvSpPr>
      <dsp:spPr>
        <a:xfrm>
          <a:off x="19801096" y="4312906"/>
          <a:ext cx="1963638" cy="1246910"/>
        </a:xfrm>
        <a:prstGeom prst="roundRect">
          <a:avLst>
            <a:gd name="adj" fmla="val 10000"/>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376FAB02-2D88-724C-BD4D-D0F027D4CE18}">
      <dsp:nvSpPr>
        <dsp:cNvPr id="0" name=""/>
        <dsp:cNvSpPr/>
      </dsp:nvSpPr>
      <dsp:spPr>
        <a:xfrm>
          <a:off x="20019278" y="4520179"/>
          <a:ext cx="1963638" cy="1246910"/>
        </a:xfrm>
        <a:prstGeom prst="roundRect">
          <a:avLst>
            <a:gd name="adj" fmla="val 10000"/>
          </a:avLst>
        </a:prstGeom>
        <a:solidFill>
          <a:schemeClr val="accent2">
            <a:lumMod val="20000"/>
            <a:lumOff val="8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Visitors</a:t>
          </a:r>
          <a:endParaRPr lang="en-US" sz="1900" kern="1200" dirty="0"/>
        </a:p>
      </dsp:txBody>
      <dsp:txXfrm>
        <a:off x="20055799" y="4556700"/>
        <a:ext cx="1890596" cy="1173868"/>
      </dsp:txXfrm>
    </dsp:sp>
    <dsp:sp modelId="{5A2C1499-0767-134C-B493-46E95A3FD5F8}">
      <dsp:nvSpPr>
        <dsp:cNvPr id="0" name=""/>
        <dsp:cNvSpPr/>
      </dsp:nvSpPr>
      <dsp:spPr>
        <a:xfrm>
          <a:off x="18601095" y="6130907"/>
          <a:ext cx="1963638" cy="1246910"/>
        </a:xfrm>
        <a:prstGeom prst="roundRect">
          <a:avLst>
            <a:gd name="adj" fmla="val 10000"/>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6B3679A0-56B0-044B-9758-A44F5F9979A2}">
      <dsp:nvSpPr>
        <dsp:cNvPr id="0" name=""/>
        <dsp:cNvSpPr/>
      </dsp:nvSpPr>
      <dsp:spPr>
        <a:xfrm>
          <a:off x="18819277" y="6338180"/>
          <a:ext cx="1963638" cy="1246910"/>
        </a:xfrm>
        <a:prstGeom prst="roundRect">
          <a:avLst>
            <a:gd name="adj" fmla="val 10000"/>
          </a:avLst>
        </a:prstGeom>
        <a:solidFill>
          <a:schemeClr val="accent2">
            <a:lumMod val="20000"/>
            <a:lumOff val="8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Acquisition</a:t>
          </a:r>
          <a:endParaRPr lang="en-US" sz="1900" kern="1200" dirty="0"/>
        </a:p>
      </dsp:txBody>
      <dsp:txXfrm>
        <a:off x="18855798" y="6374701"/>
        <a:ext cx="1890596" cy="1173868"/>
      </dsp:txXfrm>
    </dsp:sp>
    <dsp:sp modelId="{512F3FF9-7E38-C142-BEAB-2ED049C46850}">
      <dsp:nvSpPr>
        <dsp:cNvPr id="0" name=""/>
        <dsp:cNvSpPr/>
      </dsp:nvSpPr>
      <dsp:spPr>
        <a:xfrm>
          <a:off x="21001097" y="6130907"/>
          <a:ext cx="1963638" cy="1246910"/>
        </a:xfrm>
        <a:prstGeom prst="roundRect">
          <a:avLst>
            <a:gd name="adj" fmla="val 10000"/>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EDEB1C70-4FE5-AA47-A82A-51DB412D401E}">
      <dsp:nvSpPr>
        <dsp:cNvPr id="0" name=""/>
        <dsp:cNvSpPr/>
      </dsp:nvSpPr>
      <dsp:spPr>
        <a:xfrm>
          <a:off x="21219279" y="6338180"/>
          <a:ext cx="1963638" cy="1246910"/>
        </a:xfrm>
        <a:prstGeom prst="roundRect">
          <a:avLst>
            <a:gd name="adj" fmla="val 10000"/>
          </a:avLst>
        </a:prstGeom>
        <a:solidFill>
          <a:schemeClr val="accent2">
            <a:lumMod val="20000"/>
            <a:lumOff val="8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Retention</a:t>
          </a:r>
          <a:endParaRPr lang="en-US" sz="1900" kern="1200" dirty="0"/>
        </a:p>
      </dsp:txBody>
      <dsp:txXfrm>
        <a:off x="21255800" y="6374701"/>
        <a:ext cx="1890596" cy="1173868"/>
      </dsp:txXfrm>
    </dsp:sp>
    <dsp:sp modelId="{FED53FBA-B97A-5449-84EA-00CF62F7A15B}">
      <dsp:nvSpPr>
        <dsp:cNvPr id="0" name=""/>
        <dsp:cNvSpPr/>
      </dsp:nvSpPr>
      <dsp:spPr>
        <a:xfrm>
          <a:off x="19801096" y="7948909"/>
          <a:ext cx="1963638" cy="1246910"/>
        </a:xfrm>
        <a:prstGeom prst="roundRect">
          <a:avLst>
            <a:gd name="adj" fmla="val 10000"/>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9ED0A673-9EA6-7D42-A88E-5AA0783203C6}">
      <dsp:nvSpPr>
        <dsp:cNvPr id="0" name=""/>
        <dsp:cNvSpPr/>
      </dsp:nvSpPr>
      <dsp:spPr>
        <a:xfrm>
          <a:off x="20019278" y="8156182"/>
          <a:ext cx="1963638" cy="1246910"/>
        </a:xfrm>
        <a:prstGeom prst="roundRect">
          <a:avLst>
            <a:gd name="adj" fmla="val 10000"/>
          </a:avLst>
        </a:prstGeom>
        <a:solidFill>
          <a:schemeClr val="accent2">
            <a:lumMod val="20000"/>
            <a:lumOff val="8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E-mail Sign-up</a:t>
          </a:r>
          <a:endParaRPr lang="en-US" sz="1900" kern="1200" dirty="0"/>
        </a:p>
      </dsp:txBody>
      <dsp:txXfrm>
        <a:off x="20055799" y="8192703"/>
        <a:ext cx="1890596" cy="1173868"/>
      </dsp:txXfrm>
    </dsp:sp>
    <dsp:sp modelId="{31751CC0-40E7-9049-820E-F362FB897E49}">
      <dsp:nvSpPr>
        <dsp:cNvPr id="0" name=""/>
        <dsp:cNvSpPr/>
      </dsp:nvSpPr>
      <dsp:spPr>
        <a:xfrm>
          <a:off x="22201098" y="7948909"/>
          <a:ext cx="1963638" cy="1246910"/>
        </a:xfrm>
        <a:prstGeom prst="roundRect">
          <a:avLst>
            <a:gd name="adj" fmla="val 10000"/>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9AAD32A6-F071-CE49-89D5-26B4317FAA8E}">
      <dsp:nvSpPr>
        <dsp:cNvPr id="0" name=""/>
        <dsp:cNvSpPr/>
      </dsp:nvSpPr>
      <dsp:spPr>
        <a:xfrm>
          <a:off x="22419280" y="8156182"/>
          <a:ext cx="1963638" cy="1246910"/>
        </a:xfrm>
        <a:prstGeom prst="roundRect">
          <a:avLst>
            <a:gd name="adj" fmla="val 10000"/>
          </a:avLst>
        </a:prstGeom>
        <a:solidFill>
          <a:schemeClr val="accent2">
            <a:lumMod val="20000"/>
            <a:lumOff val="80000"/>
            <a:alpha val="9000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390" tIns="72390" rIns="72390" bIns="72390" numCol="1" spcCol="1270" anchor="ctr" anchorCtr="0">
          <a:noAutofit/>
        </a:bodyPr>
        <a:lstStyle/>
        <a:p>
          <a:pPr lvl="0" algn="ctr" defTabSz="844550">
            <a:lnSpc>
              <a:spcPct val="90000"/>
            </a:lnSpc>
            <a:spcBef>
              <a:spcPct val="0"/>
            </a:spcBef>
            <a:spcAft>
              <a:spcPct val="35000"/>
            </a:spcAft>
          </a:pPr>
          <a:r>
            <a:rPr lang="en-US" sz="1900" kern="1200" dirty="0" smtClean="0"/>
            <a:t>Follow-up mails</a:t>
          </a:r>
          <a:endParaRPr lang="en-US" sz="1900" kern="1200" dirty="0"/>
        </a:p>
      </dsp:txBody>
      <dsp:txXfrm>
        <a:off x="22455801" y="8192703"/>
        <a:ext cx="1890596" cy="117386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D52545-C531-A24E-AD5E-0932D0F664A1}">
      <dsp:nvSpPr>
        <dsp:cNvPr id="0" name=""/>
        <dsp:cNvSpPr/>
      </dsp:nvSpPr>
      <dsp:spPr>
        <a:xfrm>
          <a:off x="20556514" y="7064238"/>
          <a:ext cx="1655832" cy="394012"/>
        </a:xfrm>
        <a:custGeom>
          <a:avLst/>
          <a:gdLst/>
          <a:ahLst/>
          <a:cxnLst/>
          <a:rect l="0" t="0" r="0" b="0"/>
          <a:pathLst>
            <a:path>
              <a:moveTo>
                <a:pt x="0" y="0"/>
              </a:moveTo>
              <a:lnTo>
                <a:pt x="0" y="268508"/>
              </a:lnTo>
              <a:lnTo>
                <a:pt x="1655832" y="268508"/>
              </a:lnTo>
              <a:lnTo>
                <a:pt x="1655832" y="394012"/>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233695F9-20B7-AD41-9BB1-537A087FEA3C}">
      <dsp:nvSpPr>
        <dsp:cNvPr id="0" name=""/>
        <dsp:cNvSpPr/>
      </dsp:nvSpPr>
      <dsp:spPr>
        <a:xfrm>
          <a:off x="20510794" y="7064238"/>
          <a:ext cx="91440" cy="394012"/>
        </a:xfrm>
        <a:custGeom>
          <a:avLst/>
          <a:gdLst/>
          <a:ahLst/>
          <a:cxnLst/>
          <a:rect l="0" t="0" r="0" b="0"/>
          <a:pathLst>
            <a:path>
              <a:moveTo>
                <a:pt x="45720" y="0"/>
              </a:moveTo>
              <a:lnTo>
                <a:pt x="45720" y="394012"/>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1640CB7C-65B2-054A-B681-10D75DF15C02}">
      <dsp:nvSpPr>
        <dsp:cNvPr id="0" name=""/>
        <dsp:cNvSpPr/>
      </dsp:nvSpPr>
      <dsp:spPr>
        <a:xfrm>
          <a:off x="18900682" y="7064238"/>
          <a:ext cx="1655832" cy="394012"/>
        </a:xfrm>
        <a:custGeom>
          <a:avLst/>
          <a:gdLst/>
          <a:ahLst/>
          <a:cxnLst/>
          <a:rect l="0" t="0" r="0" b="0"/>
          <a:pathLst>
            <a:path>
              <a:moveTo>
                <a:pt x="1655832" y="0"/>
              </a:moveTo>
              <a:lnTo>
                <a:pt x="1655832" y="268508"/>
              </a:lnTo>
              <a:lnTo>
                <a:pt x="0" y="268508"/>
              </a:lnTo>
              <a:lnTo>
                <a:pt x="0" y="394012"/>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CF3FA2DF-01BD-AF47-8540-879C486906C7}">
      <dsp:nvSpPr>
        <dsp:cNvPr id="0" name=""/>
        <dsp:cNvSpPr/>
      </dsp:nvSpPr>
      <dsp:spPr>
        <a:xfrm>
          <a:off x="16830892" y="5809945"/>
          <a:ext cx="3725622" cy="394012"/>
        </a:xfrm>
        <a:custGeom>
          <a:avLst/>
          <a:gdLst/>
          <a:ahLst/>
          <a:cxnLst/>
          <a:rect l="0" t="0" r="0" b="0"/>
          <a:pathLst>
            <a:path>
              <a:moveTo>
                <a:pt x="0" y="0"/>
              </a:moveTo>
              <a:lnTo>
                <a:pt x="0" y="268508"/>
              </a:lnTo>
              <a:lnTo>
                <a:pt x="3725622" y="268508"/>
              </a:lnTo>
              <a:lnTo>
                <a:pt x="3725622" y="394012"/>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7B8BCF83-1A5D-2442-A38D-B0EA693508AF}">
      <dsp:nvSpPr>
        <dsp:cNvPr id="0" name=""/>
        <dsp:cNvSpPr/>
      </dsp:nvSpPr>
      <dsp:spPr>
        <a:xfrm>
          <a:off x="16416934" y="7064238"/>
          <a:ext cx="827916" cy="394012"/>
        </a:xfrm>
        <a:custGeom>
          <a:avLst/>
          <a:gdLst/>
          <a:ahLst/>
          <a:cxnLst/>
          <a:rect l="0" t="0" r="0" b="0"/>
          <a:pathLst>
            <a:path>
              <a:moveTo>
                <a:pt x="0" y="0"/>
              </a:moveTo>
              <a:lnTo>
                <a:pt x="0" y="268508"/>
              </a:lnTo>
              <a:lnTo>
                <a:pt x="827916" y="268508"/>
              </a:lnTo>
              <a:lnTo>
                <a:pt x="827916" y="394012"/>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A169A7AD-DFFE-0C40-8583-D477D49DA34F}">
      <dsp:nvSpPr>
        <dsp:cNvPr id="0" name=""/>
        <dsp:cNvSpPr/>
      </dsp:nvSpPr>
      <dsp:spPr>
        <a:xfrm>
          <a:off x="15589018" y="7064238"/>
          <a:ext cx="827916" cy="394012"/>
        </a:xfrm>
        <a:custGeom>
          <a:avLst/>
          <a:gdLst/>
          <a:ahLst/>
          <a:cxnLst/>
          <a:rect l="0" t="0" r="0" b="0"/>
          <a:pathLst>
            <a:path>
              <a:moveTo>
                <a:pt x="827916" y="0"/>
              </a:moveTo>
              <a:lnTo>
                <a:pt x="827916" y="268508"/>
              </a:lnTo>
              <a:lnTo>
                <a:pt x="0" y="268508"/>
              </a:lnTo>
              <a:lnTo>
                <a:pt x="0" y="394012"/>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02268241-BBC4-6544-96CA-2B2336FFC79F}">
      <dsp:nvSpPr>
        <dsp:cNvPr id="0" name=""/>
        <dsp:cNvSpPr/>
      </dsp:nvSpPr>
      <dsp:spPr>
        <a:xfrm>
          <a:off x="16416934" y="5809945"/>
          <a:ext cx="413958" cy="394012"/>
        </a:xfrm>
        <a:custGeom>
          <a:avLst/>
          <a:gdLst/>
          <a:ahLst/>
          <a:cxnLst/>
          <a:rect l="0" t="0" r="0" b="0"/>
          <a:pathLst>
            <a:path>
              <a:moveTo>
                <a:pt x="413958" y="0"/>
              </a:moveTo>
              <a:lnTo>
                <a:pt x="413958" y="268508"/>
              </a:lnTo>
              <a:lnTo>
                <a:pt x="0" y="268508"/>
              </a:lnTo>
              <a:lnTo>
                <a:pt x="0" y="394012"/>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C31D8C99-DBEE-0C43-A53A-EA88B35F45CE}">
      <dsp:nvSpPr>
        <dsp:cNvPr id="0" name=""/>
        <dsp:cNvSpPr/>
      </dsp:nvSpPr>
      <dsp:spPr>
        <a:xfrm>
          <a:off x="13933186" y="8318530"/>
          <a:ext cx="827916" cy="394012"/>
        </a:xfrm>
        <a:custGeom>
          <a:avLst/>
          <a:gdLst/>
          <a:ahLst/>
          <a:cxnLst/>
          <a:rect l="0" t="0" r="0" b="0"/>
          <a:pathLst>
            <a:path>
              <a:moveTo>
                <a:pt x="0" y="0"/>
              </a:moveTo>
              <a:lnTo>
                <a:pt x="0" y="268508"/>
              </a:lnTo>
              <a:lnTo>
                <a:pt x="827916" y="268508"/>
              </a:lnTo>
              <a:lnTo>
                <a:pt x="827916" y="394012"/>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1FB9651F-8479-E741-ADCC-3C1B81C68F05}">
      <dsp:nvSpPr>
        <dsp:cNvPr id="0" name=""/>
        <dsp:cNvSpPr/>
      </dsp:nvSpPr>
      <dsp:spPr>
        <a:xfrm>
          <a:off x="13105270" y="8318530"/>
          <a:ext cx="827916" cy="394012"/>
        </a:xfrm>
        <a:custGeom>
          <a:avLst/>
          <a:gdLst/>
          <a:ahLst/>
          <a:cxnLst/>
          <a:rect l="0" t="0" r="0" b="0"/>
          <a:pathLst>
            <a:path>
              <a:moveTo>
                <a:pt x="827916" y="0"/>
              </a:moveTo>
              <a:lnTo>
                <a:pt x="827916" y="268508"/>
              </a:lnTo>
              <a:lnTo>
                <a:pt x="0" y="268508"/>
              </a:lnTo>
              <a:lnTo>
                <a:pt x="0" y="394012"/>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E67CCEAE-7D80-4B4D-8D08-6B0EEF385A76}">
      <dsp:nvSpPr>
        <dsp:cNvPr id="0" name=""/>
        <dsp:cNvSpPr/>
      </dsp:nvSpPr>
      <dsp:spPr>
        <a:xfrm>
          <a:off x="13105270" y="7064238"/>
          <a:ext cx="827916" cy="394012"/>
        </a:xfrm>
        <a:custGeom>
          <a:avLst/>
          <a:gdLst/>
          <a:ahLst/>
          <a:cxnLst/>
          <a:rect l="0" t="0" r="0" b="0"/>
          <a:pathLst>
            <a:path>
              <a:moveTo>
                <a:pt x="0" y="0"/>
              </a:moveTo>
              <a:lnTo>
                <a:pt x="0" y="268508"/>
              </a:lnTo>
              <a:lnTo>
                <a:pt x="827916" y="268508"/>
              </a:lnTo>
              <a:lnTo>
                <a:pt x="827916" y="394012"/>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F57C5B74-6E5F-C246-B9A4-E736AFA6913B}">
      <dsp:nvSpPr>
        <dsp:cNvPr id="0" name=""/>
        <dsp:cNvSpPr/>
      </dsp:nvSpPr>
      <dsp:spPr>
        <a:xfrm>
          <a:off x="12277354" y="7064238"/>
          <a:ext cx="827916" cy="394012"/>
        </a:xfrm>
        <a:custGeom>
          <a:avLst/>
          <a:gdLst/>
          <a:ahLst/>
          <a:cxnLst/>
          <a:rect l="0" t="0" r="0" b="0"/>
          <a:pathLst>
            <a:path>
              <a:moveTo>
                <a:pt x="827916" y="0"/>
              </a:moveTo>
              <a:lnTo>
                <a:pt x="827916" y="268508"/>
              </a:lnTo>
              <a:lnTo>
                <a:pt x="0" y="268508"/>
              </a:lnTo>
              <a:lnTo>
                <a:pt x="0" y="394012"/>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D2925F18-8606-2E43-AE8E-58431B2489E3}">
      <dsp:nvSpPr>
        <dsp:cNvPr id="0" name=""/>
        <dsp:cNvSpPr/>
      </dsp:nvSpPr>
      <dsp:spPr>
        <a:xfrm>
          <a:off x="13105270" y="5809945"/>
          <a:ext cx="3725622" cy="394012"/>
        </a:xfrm>
        <a:custGeom>
          <a:avLst/>
          <a:gdLst/>
          <a:ahLst/>
          <a:cxnLst/>
          <a:rect l="0" t="0" r="0" b="0"/>
          <a:pathLst>
            <a:path>
              <a:moveTo>
                <a:pt x="3725622" y="0"/>
              </a:moveTo>
              <a:lnTo>
                <a:pt x="3725622" y="268508"/>
              </a:lnTo>
              <a:lnTo>
                <a:pt x="0" y="268508"/>
              </a:lnTo>
              <a:lnTo>
                <a:pt x="0" y="394012"/>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399AEB7C-4485-4241-98AE-0FF1F3000DCA}">
      <dsp:nvSpPr>
        <dsp:cNvPr id="0" name=""/>
        <dsp:cNvSpPr/>
      </dsp:nvSpPr>
      <dsp:spPr>
        <a:xfrm>
          <a:off x="11035480" y="4555652"/>
          <a:ext cx="5795412" cy="394012"/>
        </a:xfrm>
        <a:custGeom>
          <a:avLst/>
          <a:gdLst/>
          <a:ahLst/>
          <a:cxnLst/>
          <a:rect l="0" t="0" r="0" b="0"/>
          <a:pathLst>
            <a:path>
              <a:moveTo>
                <a:pt x="0" y="0"/>
              </a:moveTo>
              <a:lnTo>
                <a:pt x="0" y="268508"/>
              </a:lnTo>
              <a:lnTo>
                <a:pt x="5795412" y="268508"/>
              </a:lnTo>
              <a:lnTo>
                <a:pt x="5795412" y="394012"/>
              </a:lnTo>
            </a:path>
          </a:pathLst>
        </a:custGeom>
        <a:noFill/>
        <a:ln w="2540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3EEDA285-1970-1D46-9EB9-147D865CF3A9}">
      <dsp:nvSpPr>
        <dsp:cNvPr id="0" name=""/>
        <dsp:cNvSpPr/>
      </dsp:nvSpPr>
      <dsp:spPr>
        <a:xfrm>
          <a:off x="8965690" y="7064238"/>
          <a:ext cx="1655832" cy="394012"/>
        </a:xfrm>
        <a:custGeom>
          <a:avLst/>
          <a:gdLst/>
          <a:ahLst/>
          <a:cxnLst/>
          <a:rect l="0" t="0" r="0" b="0"/>
          <a:pathLst>
            <a:path>
              <a:moveTo>
                <a:pt x="0" y="0"/>
              </a:moveTo>
              <a:lnTo>
                <a:pt x="0" y="268508"/>
              </a:lnTo>
              <a:lnTo>
                <a:pt x="1655832" y="268508"/>
              </a:lnTo>
              <a:lnTo>
                <a:pt x="1655832" y="394012"/>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23E55325-DABE-DA40-8046-8AA19E980D5B}">
      <dsp:nvSpPr>
        <dsp:cNvPr id="0" name=""/>
        <dsp:cNvSpPr/>
      </dsp:nvSpPr>
      <dsp:spPr>
        <a:xfrm>
          <a:off x="8919970" y="7064238"/>
          <a:ext cx="91440" cy="394012"/>
        </a:xfrm>
        <a:custGeom>
          <a:avLst/>
          <a:gdLst/>
          <a:ahLst/>
          <a:cxnLst/>
          <a:rect l="0" t="0" r="0" b="0"/>
          <a:pathLst>
            <a:path>
              <a:moveTo>
                <a:pt x="45720" y="0"/>
              </a:moveTo>
              <a:lnTo>
                <a:pt x="45720" y="394012"/>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18247605-CC18-AB44-963F-617788F1E182}">
      <dsp:nvSpPr>
        <dsp:cNvPr id="0" name=""/>
        <dsp:cNvSpPr/>
      </dsp:nvSpPr>
      <dsp:spPr>
        <a:xfrm>
          <a:off x="7309858" y="7064238"/>
          <a:ext cx="1655832" cy="394012"/>
        </a:xfrm>
        <a:custGeom>
          <a:avLst/>
          <a:gdLst/>
          <a:ahLst/>
          <a:cxnLst/>
          <a:rect l="0" t="0" r="0" b="0"/>
          <a:pathLst>
            <a:path>
              <a:moveTo>
                <a:pt x="1655832" y="0"/>
              </a:moveTo>
              <a:lnTo>
                <a:pt x="1655832" y="268508"/>
              </a:lnTo>
              <a:lnTo>
                <a:pt x="0" y="268508"/>
              </a:lnTo>
              <a:lnTo>
                <a:pt x="0" y="394012"/>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D6BDB73-C4B7-C048-B1A6-CE650313D413}">
      <dsp:nvSpPr>
        <dsp:cNvPr id="0" name=""/>
        <dsp:cNvSpPr/>
      </dsp:nvSpPr>
      <dsp:spPr>
        <a:xfrm>
          <a:off x="5240068" y="5809945"/>
          <a:ext cx="3725622" cy="394012"/>
        </a:xfrm>
        <a:custGeom>
          <a:avLst/>
          <a:gdLst/>
          <a:ahLst/>
          <a:cxnLst/>
          <a:rect l="0" t="0" r="0" b="0"/>
          <a:pathLst>
            <a:path>
              <a:moveTo>
                <a:pt x="0" y="0"/>
              </a:moveTo>
              <a:lnTo>
                <a:pt x="0" y="268508"/>
              </a:lnTo>
              <a:lnTo>
                <a:pt x="3725622" y="268508"/>
              </a:lnTo>
              <a:lnTo>
                <a:pt x="3725622" y="394012"/>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C5DF801C-9F86-F24A-8145-28B7DF4D6CFA}">
      <dsp:nvSpPr>
        <dsp:cNvPr id="0" name=""/>
        <dsp:cNvSpPr/>
      </dsp:nvSpPr>
      <dsp:spPr>
        <a:xfrm>
          <a:off x="4826110" y="7064238"/>
          <a:ext cx="827916" cy="394012"/>
        </a:xfrm>
        <a:custGeom>
          <a:avLst/>
          <a:gdLst/>
          <a:ahLst/>
          <a:cxnLst/>
          <a:rect l="0" t="0" r="0" b="0"/>
          <a:pathLst>
            <a:path>
              <a:moveTo>
                <a:pt x="0" y="0"/>
              </a:moveTo>
              <a:lnTo>
                <a:pt x="0" y="268508"/>
              </a:lnTo>
              <a:lnTo>
                <a:pt x="827916" y="268508"/>
              </a:lnTo>
              <a:lnTo>
                <a:pt x="827916" y="394012"/>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DDA32A11-8AB9-1346-9B7E-CF736C682E0A}">
      <dsp:nvSpPr>
        <dsp:cNvPr id="0" name=""/>
        <dsp:cNvSpPr/>
      </dsp:nvSpPr>
      <dsp:spPr>
        <a:xfrm>
          <a:off x="3998194" y="7064238"/>
          <a:ext cx="827916" cy="394012"/>
        </a:xfrm>
        <a:custGeom>
          <a:avLst/>
          <a:gdLst/>
          <a:ahLst/>
          <a:cxnLst/>
          <a:rect l="0" t="0" r="0" b="0"/>
          <a:pathLst>
            <a:path>
              <a:moveTo>
                <a:pt x="827916" y="0"/>
              </a:moveTo>
              <a:lnTo>
                <a:pt x="827916" y="268508"/>
              </a:lnTo>
              <a:lnTo>
                <a:pt x="0" y="268508"/>
              </a:lnTo>
              <a:lnTo>
                <a:pt x="0" y="394012"/>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D70DEA0E-8520-2540-831B-4FA2C2611548}">
      <dsp:nvSpPr>
        <dsp:cNvPr id="0" name=""/>
        <dsp:cNvSpPr/>
      </dsp:nvSpPr>
      <dsp:spPr>
        <a:xfrm>
          <a:off x="4826110" y="5809945"/>
          <a:ext cx="413958" cy="394012"/>
        </a:xfrm>
        <a:custGeom>
          <a:avLst/>
          <a:gdLst/>
          <a:ahLst/>
          <a:cxnLst/>
          <a:rect l="0" t="0" r="0" b="0"/>
          <a:pathLst>
            <a:path>
              <a:moveTo>
                <a:pt x="413958" y="0"/>
              </a:moveTo>
              <a:lnTo>
                <a:pt x="413958" y="268508"/>
              </a:lnTo>
              <a:lnTo>
                <a:pt x="0" y="268508"/>
              </a:lnTo>
              <a:lnTo>
                <a:pt x="0" y="394012"/>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A024F2C1-6A20-1E43-9274-B647A28E8AB8}">
      <dsp:nvSpPr>
        <dsp:cNvPr id="0" name=""/>
        <dsp:cNvSpPr/>
      </dsp:nvSpPr>
      <dsp:spPr>
        <a:xfrm>
          <a:off x="1514446" y="7064238"/>
          <a:ext cx="827916" cy="394012"/>
        </a:xfrm>
        <a:custGeom>
          <a:avLst/>
          <a:gdLst/>
          <a:ahLst/>
          <a:cxnLst/>
          <a:rect l="0" t="0" r="0" b="0"/>
          <a:pathLst>
            <a:path>
              <a:moveTo>
                <a:pt x="0" y="0"/>
              </a:moveTo>
              <a:lnTo>
                <a:pt x="0" y="268508"/>
              </a:lnTo>
              <a:lnTo>
                <a:pt x="827916" y="268508"/>
              </a:lnTo>
              <a:lnTo>
                <a:pt x="827916" y="394012"/>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9A158C36-03F1-F743-A3B1-0CFE5ED9484B}">
      <dsp:nvSpPr>
        <dsp:cNvPr id="0" name=""/>
        <dsp:cNvSpPr/>
      </dsp:nvSpPr>
      <dsp:spPr>
        <a:xfrm>
          <a:off x="686530" y="7064238"/>
          <a:ext cx="827916" cy="394012"/>
        </a:xfrm>
        <a:custGeom>
          <a:avLst/>
          <a:gdLst/>
          <a:ahLst/>
          <a:cxnLst/>
          <a:rect l="0" t="0" r="0" b="0"/>
          <a:pathLst>
            <a:path>
              <a:moveTo>
                <a:pt x="827916" y="0"/>
              </a:moveTo>
              <a:lnTo>
                <a:pt x="827916" y="268508"/>
              </a:lnTo>
              <a:lnTo>
                <a:pt x="0" y="268508"/>
              </a:lnTo>
              <a:lnTo>
                <a:pt x="0" y="394012"/>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5702A89A-DC52-9C46-9B02-580E3D9B64DA}">
      <dsp:nvSpPr>
        <dsp:cNvPr id="0" name=""/>
        <dsp:cNvSpPr/>
      </dsp:nvSpPr>
      <dsp:spPr>
        <a:xfrm>
          <a:off x="1514446" y="5809945"/>
          <a:ext cx="3725622" cy="394012"/>
        </a:xfrm>
        <a:custGeom>
          <a:avLst/>
          <a:gdLst/>
          <a:ahLst/>
          <a:cxnLst/>
          <a:rect l="0" t="0" r="0" b="0"/>
          <a:pathLst>
            <a:path>
              <a:moveTo>
                <a:pt x="3725622" y="0"/>
              </a:moveTo>
              <a:lnTo>
                <a:pt x="3725622" y="268508"/>
              </a:lnTo>
              <a:lnTo>
                <a:pt x="0" y="268508"/>
              </a:lnTo>
              <a:lnTo>
                <a:pt x="0" y="394012"/>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1AC89EAC-2991-7245-8EC8-92F87503F89E}">
      <dsp:nvSpPr>
        <dsp:cNvPr id="0" name=""/>
        <dsp:cNvSpPr/>
      </dsp:nvSpPr>
      <dsp:spPr>
        <a:xfrm>
          <a:off x="5240068" y="4555652"/>
          <a:ext cx="5795412" cy="394012"/>
        </a:xfrm>
        <a:custGeom>
          <a:avLst/>
          <a:gdLst/>
          <a:ahLst/>
          <a:cxnLst/>
          <a:rect l="0" t="0" r="0" b="0"/>
          <a:pathLst>
            <a:path>
              <a:moveTo>
                <a:pt x="5795412" y="0"/>
              </a:moveTo>
              <a:lnTo>
                <a:pt x="5795412" y="268508"/>
              </a:lnTo>
              <a:lnTo>
                <a:pt x="0" y="268508"/>
              </a:lnTo>
              <a:lnTo>
                <a:pt x="0" y="394012"/>
              </a:lnTo>
            </a:path>
          </a:pathLst>
        </a:custGeom>
        <a:noFill/>
        <a:ln w="2540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B583EF7D-CB8E-AF47-A04A-538F36D040F1}">
      <dsp:nvSpPr>
        <dsp:cNvPr id="0" name=""/>
        <dsp:cNvSpPr/>
      </dsp:nvSpPr>
      <dsp:spPr>
        <a:xfrm>
          <a:off x="10358094" y="3695372"/>
          <a:ext cx="1354771" cy="860280"/>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048F2AA8-3106-1549-A86D-816408887124}">
      <dsp:nvSpPr>
        <dsp:cNvPr id="0" name=""/>
        <dsp:cNvSpPr/>
      </dsp:nvSpPr>
      <dsp:spPr>
        <a:xfrm>
          <a:off x="10508624" y="3838376"/>
          <a:ext cx="1354771" cy="860280"/>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smtClean="0">
              <a:solidFill>
                <a:schemeClr val="accent1">
                  <a:lumMod val="50000"/>
                </a:schemeClr>
              </a:solidFill>
              <a:effectLst>
                <a:outerShdw blurRad="50800" dist="38100" dir="2700000" algn="tl" rotWithShape="0">
                  <a:prstClr val="black">
                    <a:alpha val="40000"/>
                  </a:prstClr>
                </a:outerShdw>
              </a:effectLst>
            </a:rPr>
            <a:t>Revenue</a:t>
          </a:r>
          <a:endParaRPr lang="en-US" sz="1300" b="1" kern="1200" dirty="0">
            <a:solidFill>
              <a:schemeClr val="accent1">
                <a:lumMod val="50000"/>
              </a:schemeClr>
            </a:solidFill>
            <a:effectLst>
              <a:outerShdw blurRad="50800" dist="38100" dir="2700000" algn="tl" rotWithShape="0">
                <a:prstClr val="black">
                  <a:alpha val="40000"/>
                </a:prstClr>
              </a:outerShdw>
            </a:effectLst>
          </a:endParaRPr>
        </a:p>
      </dsp:txBody>
      <dsp:txXfrm>
        <a:off x="10533821" y="3863573"/>
        <a:ext cx="1304377" cy="809886"/>
      </dsp:txXfrm>
    </dsp:sp>
    <dsp:sp modelId="{DD48E2C9-22D8-1A49-89B2-CCC45CF4953F}">
      <dsp:nvSpPr>
        <dsp:cNvPr id="0" name=""/>
        <dsp:cNvSpPr/>
      </dsp:nvSpPr>
      <dsp:spPr>
        <a:xfrm>
          <a:off x="4562682" y="4949665"/>
          <a:ext cx="1354771" cy="860280"/>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6FEDD366-0C5B-8F47-B329-80EB5A93F26A}">
      <dsp:nvSpPr>
        <dsp:cNvPr id="0" name=""/>
        <dsp:cNvSpPr/>
      </dsp:nvSpPr>
      <dsp:spPr>
        <a:xfrm>
          <a:off x="4713212" y="5092669"/>
          <a:ext cx="1354771" cy="860280"/>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smtClean="0">
              <a:solidFill>
                <a:schemeClr val="accent1">
                  <a:lumMod val="50000"/>
                </a:schemeClr>
              </a:solidFill>
              <a:effectLst>
                <a:outerShdw blurRad="50800" dist="38100" dir="2700000" algn="tl" rotWithShape="0">
                  <a:prstClr val="black">
                    <a:alpha val="40000"/>
                  </a:prstClr>
                </a:outerShdw>
              </a:effectLst>
            </a:rPr>
            <a:t>Revenue Per Users</a:t>
          </a:r>
          <a:endParaRPr lang="en-US" sz="1300" b="1" kern="1200" dirty="0">
            <a:solidFill>
              <a:schemeClr val="accent1">
                <a:lumMod val="50000"/>
              </a:schemeClr>
            </a:solidFill>
            <a:effectLst>
              <a:outerShdw blurRad="50800" dist="38100" dir="2700000" algn="tl" rotWithShape="0">
                <a:prstClr val="black">
                  <a:alpha val="40000"/>
                </a:prstClr>
              </a:outerShdw>
            </a:effectLst>
          </a:endParaRPr>
        </a:p>
      </dsp:txBody>
      <dsp:txXfrm>
        <a:off x="4738409" y="5117866"/>
        <a:ext cx="1304377" cy="809886"/>
      </dsp:txXfrm>
    </dsp:sp>
    <dsp:sp modelId="{477DB18B-C230-374D-BF65-5E997DB797BB}">
      <dsp:nvSpPr>
        <dsp:cNvPr id="0" name=""/>
        <dsp:cNvSpPr/>
      </dsp:nvSpPr>
      <dsp:spPr>
        <a:xfrm>
          <a:off x="837060" y="6203958"/>
          <a:ext cx="1354771" cy="860280"/>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0A51E13A-D55B-2E4C-A58B-2676DECBA1CF}">
      <dsp:nvSpPr>
        <dsp:cNvPr id="0" name=""/>
        <dsp:cNvSpPr/>
      </dsp:nvSpPr>
      <dsp:spPr>
        <a:xfrm>
          <a:off x="987590" y="6346961"/>
          <a:ext cx="1354771" cy="860280"/>
        </a:xfrm>
        <a:prstGeom prst="roundRect">
          <a:avLst>
            <a:gd name="adj" fmla="val 10000"/>
          </a:avLst>
        </a:prstGeom>
        <a:solidFill>
          <a:schemeClr val="accent1">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smtClean="0">
              <a:solidFill>
                <a:schemeClr val="accent1">
                  <a:lumMod val="50000"/>
                </a:schemeClr>
              </a:solidFill>
              <a:effectLst>
                <a:outerShdw blurRad="50800" dist="38100" dir="2700000" algn="tl" rotWithShape="0">
                  <a:prstClr val="black">
                    <a:alpha val="40000"/>
                  </a:prstClr>
                </a:outerShdw>
              </a:effectLst>
            </a:rPr>
            <a:t>Stock Trading</a:t>
          </a:r>
          <a:endParaRPr lang="en-US" sz="1300" b="1" kern="1200" dirty="0">
            <a:solidFill>
              <a:schemeClr val="accent1">
                <a:lumMod val="50000"/>
              </a:schemeClr>
            </a:solidFill>
            <a:effectLst>
              <a:outerShdw blurRad="50800" dist="38100" dir="2700000" algn="tl" rotWithShape="0">
                <a:prstClr val="black">
                  <a:alpha val="40000"/>
                </a:prstClr>
              </a:outerShdw>
            </a:effectLst>
          </a:endParaRPr>
        </a:p>
      </dsp:txBody>
      <dsp:txXfrm>
        <a:off x="1012787" y="6372158"/>
        <a:ext cx="1304377" cy="809886"/>
      </dsp:txXfrm>
    </dsp:sp>
    <dsp:sp modelId="{463832CD-301B-1545-ADDA-B334A33617D7}">
      <dsp:nvSpPr>
        <dsp:cNvPr id="0" name=""/>
        <dsp:cNvSpPr/>
      </dsp:nvSpPr>
      <dsp:spPr>
        <a:xfrm>
          <a:off x="9144" y="7458250"/>
          <a:ext cx="1354771" cy="860280"/>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6A8B35D2-4ECC-9544-8541-E1807F56388F}">
      <dsp:nvSpPr>
        <dsp:cNvPr id="0" name=""/>
        <dsp:cNvSpPr/>
      </dsp:nvSpPr>
      <dsp:spPr>
        <a:xfrm>
          <a:off x="159674" y="7601254"/>
          <a:ext cx="1354771" cy="860280"/>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smtClean="0">
              <a:solidFill>
                <a:schemeClr val="accent1">
                  <a:lumMod val="50000"/>
                </a:schemeClr>
              </a:solidFill>
              <a:effectLst>
                <a:outerShdw blurRad="50800" dist="38100" dir="2700000" algn="tl" rotWithShape="0">
                  <a:prstClr val="black">
                    <a:alpha val="40000"/>
                  </a:prstClr>
                </a:outerShdw>
              </a:effectLst>
            </a:rPr>
            <a:t>Commission Rate</a:t>
          </a:r>
          <a:endParaRPr lang="en-US" sz="1300" b="1" kern="1200" dirty="0">
            <a:solidFill>
              <a:schemeClr val="accent1">
                <a:lumMod val="50000"/>
              </a:schemeClr>
            </a:solidFill>
            <a:effectLst>
              <a:outerShdw blurRad="50800" dist="38100" dir="2700000" algn="tl" rotWithShape="0">
                <a:prstClr val="black">
                  <a:alpha val="40000"/>
                </a:prstClr>
              </a:outerShdw>
            </a:effectLst>
          </a:endParaRPr>
        </a:p>
      </dsp:txBody>
      <dsp:txXfrm>
        <a:off x="184871" y="7626451"/>
        <a:ext cx="1304377" cy="809886"/>
      </dsp:txXfrm>
    </dsp:sp>
    <dsp:sp modelId="{882799FF-A5B8-8D49-A01A-6968498E58FB}">
      <dsp:nvSpPr>
        <dsp:cNvPr id="0" name=""/>
        <dsp:cNvSpPr/>
      </dsp:nvSpPr>
      <dsp:spPr>
        <a:xfrm>
          <a:off x="1664976" y="7458250"/>
          <a:ext cx="1354771" cy="860280"/>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D4AF643F-59EE-1C48-B0EF-E9B2667E61A8}">
      <dsp:nvSpPr>
        <dsp:cNvPr id="0" name=""/>
        <dsp:cNvSpPr/>
      </dsp:nvSpPr>
      <dsp:spPr>
        <a:xfrm>
          <a:off x="1815506" y="7601254"/>
          <a:ext cx="1354771" cy="860280"/>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smtClean="0">
              <a:solidFill>
                <a:schemeClr val="accent1">
                  <a:lumMod val="50000"/>
                </a:schemeClr>
              </a:solidFill>
              <a:effectLst>
                <a:outerShdw blurRad="50800" dist="38100" dir="2700000" algn="tl" rotWithShape="0">
                  <a:prstClr val="black">
                    <a:alpha val="40000"/>
                  </a:prstClr>
                </a:outerShdw>
              </a:effectLst>
            </a:rPr>
            <a:t>Deal Size</a:t>
          </a:r>
          <a:endParaRPr lang="en-US" sz="1300" b="1" kern="1200" dirty="0">
            <a:solidFill>
              <a:schemeClr val="accent1">
                <a:lumMod val="50000"/>
              </a:schemeClr>
            </a:solidFill>
            <a:effectLst>
              <a:outerShdw blurRad="50800" dist="38100" dir="2700000" algn="tl" rotWithShape="0">
                <a:prstClr val="black">
                  <a:alpha val="40000"/>
                </a:prstClr>
              </a:outerShdw>
            </a:effectLst>
          </a:endParaRPr>
        </a:p>
      </dsp:txBody>
      <dsp:txXfrm>
        <a:off x="1840703" y="7626451"/>
        <a:ext cx="1304377" cy="809886"/>
      </dsp:txXfrm>
    </dsp:sp>
    <dsp:sp modelId="{6D6AA854-C025-F646-A06B-0F257970ABF7}">
      <dsp:nvSpPr>
        <dsp:cNvPr id="0" name=""/>
        <dsp:cNvSpPr/>
      </dsp:nvSpPr>
      <dsp:spPr>
        <a:xfrm>
          <a:off x="4148724" y="6203958"/>
          <a:ext cx="1354771" cy="860280"/>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49BEA11A-6C57-C74E-B1F5-F771BED0B5A9}">
      <dsp:nvSpPr>
        <dsp:cNvPr id="0" name=""/>
        <dsp:cNvSpPr/>
      </dsp:nvSpPr>
      <dsp:spPr>
        <a:xfrm>
          <a:off x="4299254" y="6346961"/>
          <a:ext cx="1354771" cy="860280"/>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smtClean="0">
              <a:solidFill>
                <a:schemeClr val="accent1">
                  <a:lumMod val="50000"/>
                </a:schemeClr>
              </a:solidFill>
              <a:effectLst>
                <a:outerShdw blurRad="50800" dist="38100" dir="2700000" algn="tl" rotWithShape="0">
                  <a:prstClr val="black">
                    <a:alpha val="40000"/>
                  </a:prstClr>
                </a:outerShdw>
              </a:effectLst>
            </a:rPr>
            <a:t>Pensions</a:t>
          </a:r>
          <a:endParaRPr lang="en-US" sz="1300" b="1" kern="1200" dirty="0">
            <a:solidFill>
              <a:schemeClr val="accent1">
                <a:lumMod val="50000"/>
              </a:schemeClr>
            </a:solidFill>
            <a:effectLst>
              <a:outerShdw blurRad="50800" dist="38100" dir="2700000" algn="tl" rotWithShape="0">
                <a:prstClr val="black">
                  <a:alpha val="40000"/>
                </a:prstClr>
              </a:outerShdw>
            </a:effectLst>
          </a:endParaRPr>
        </a:p>
      </dsp:txBody>
      <dsp:txXfrm>
        <a:off x="4324451" y="6372158"/>
        <a:ext cx="1304377" cy="809886"/>
      </dsp:txXfrm>
    </dsp:sp>
    <dsp:sp modelId="{E03D62CA-2400-FF44-874F-E30E4BBA914F}">
      <dsp:nvSpPr>
        <dsp:cNvPr id="0" name=""/>
        <dsp:cNvSpPr/>
      </dsp:nvSpPr>
      <dsp:spPr>
        <a:xfrm>
          <a:off x="3320808" y="7458250"/>
          <a:ext cx="1354771" cy="860280"/>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85B70441-8FD5-5948-A0B7-1745854AE3CF}">
      <dsp:nvSpPr>
        <dsp:cNvPr id="0" name=""/>
        <dsp:cNvSpPr/>
      </dsp:nvSpPr>
      <dsp:spPr>
        <a:xfrm>
          <a:off x="3471338" y="7601254"/>
          <a:ext cx="1354771" cy="860280"/>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smtClean="0">
              <a:solidFill>
                <a:schemeClr val="accent1">
                  <a:lumMod val="50000"/>
                </a:schemeClr>
              </a:solidFill>
              <a:effectLst>
                <a:outerShdw blurRad="50800" dist="38100" dir="2700000" algn="tl" rotWithShape="0">
                  <a:prstClr val="black">
                    <a:alpha val="40000"/>
                  </a:prstClr>
                </a:outerShdw>
              </a:effectLst>
            </a:rPr>
            <a:t>Interest Rate</a:t>
          </a:r>
          <a:endParaRPr lang="en-US" sz="1300" b="1" kern="1200" dirty="0">
            <a:solidFill>
              <a:schemeClr val="accent1">
                <a:lumMod val="50000"/>
              </a:schemeClr>
            </a:solidFill>
            <a:effectLst>
              <a:outerShdw blurRad="50800" dist="38100" dir="2700000" algn="tl" rotWithShape="0">
                <a:prstClr val="black">
                  <a:alpha val="40000"/>
                </a:prstClr>
              </a:outerShdw>
            </a:effectLst>
          </a:endParaRPr>
        </a:p>
      </dsp:txBody>
      <dsp:txXfrm>
        <a:off x="3496535" y="7626451"/>
        <a:ext cx="1304377" cy="809886"/>
      </dsp:txXfrm>
    </dsp:sp>
    <dsp:sp modelId="{ADEE0510-E56D-5D4A-9965-448ABDA9D317}">
      <dsp:nvSpPr>
        <dsp:cNvPr id="0" name=""/>
        <dsp:cNvSpPr/>
      </dsp:nvSpPr>
      <dsp:spPr>
        <a:xfrm>
          <a:off x="4976640" y="7458250"/>
          <a:ext cx="1354771" cy="860280"/>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30FEC9FA-96E3-3041-819F-0F526CF441D9}">
      <dsp:nvSpPr>
        <dsp:cNvPr id="0" name=""/>
        <dsp:cNvSpPr/>
      </dsp:nvSpPr>
      <dsp:spPr>
        <a:xfrm>
          <a:off x="5127170" y="7601254"/>
          <a:ext cx="1354771" cy="860280"/>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smtClean="0">
              <a:solidFill>
                <a:schemeClr val="accent1">
                  <a:lumMod val="50000"/>
                </a:schemeClr>
              </a:solidFill>
              <a:effectLst>
                <a:outerShdw blurRad="50800" dist="38100" dir="2700000" algn="tl" rotWithShape="0">
                  <a:prstClr val="black">
                    <a:alpha val="40000"/>
                  </a:prstClr>
                </a:outerShdw>
              </a:effectLst>
            </a:rPr>
            <a:t>Fund Size</a:t>
          </a:r>
          <a:endParaRPr lang="en-US" sz="1300" b="1" kern="1200" dirty="0">
            <a:solidFill>
              <a:schemeClr val="accent1">
                <a:lumMod val="50000"/>
              </a:schemeClr>
            </a:solidFill>
            <a:effectLst>
              <a:outerShdw blurRad="50800" dist="38100" dir="2700000" algn="tl" rotWithShape="0">
                <a:prstClr val="black">
                  <a:alpha val="40000"/>
                </a:prstClr>
              </a:outerShdw>
            </a:effectLst>
          </a:endParaRPr>
        </a:p>
      </dsp:txBody>
      <dsp:txXfrm>
        <a:off x="5152367" y="7626451"/>
        <a:ext cx="1304377" cy="809886"/>
      </dsp:txXfrm>
    </dsp:sp>
    <dsp:sp modelId="{18756427-40E3-7940-A5F7-88FA2207A937}">
      <dsp:nvSpPr>
        <dsp:cNvPr id="0" name=""/>
        <dsp:cNvSpPr/>
      </dsp:nvSpPr>
      <dsp:spPr>
        <a:xfrm>
          <a:off x="8288304" y="6203958"/>
          <a:ext cx="1354771" cy="860280"/>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B7489E5F-AADD-7944-A55A-9975D3C2DB1B}">
      <dsp:nvSpPr>
        <dsp:cNvPr id="0" name=""/>
        <dsp:cNvSpPr/>
      </dsp:nvSpPr>
      <dsp:spPr>
        <a:xfrm>
          <a:off x="8438834" y="6346961"/>
          <a:ext cx="1354771" cy="860280"/>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smtClean="0">
              <a:solidFill>
                <a:schemeClr val="accent1">
                  <a:lumMod val="50000"/>
                </a:schemeClr>
              </a:solidFill>
              <a:effectLst>
                <a:outerShdw blurRad="50800" dist="38100" dir="2700000" algn="tl" rotWithShape="0">
                  <a:prstClr val="black">
                    <a:alpha val="40000"/>
                  </a:prstClr>
                </a:outerShdw>
              </a:effectLst>
            </a:rPr>
            <a:t>Online Banking</a:t>
          </a:r>
          <a:endParaRPr lang="en-US" sz="1300" b="1" kern="1200" dirty="0">
            <a:solidFill>
              <a:schemeClr val="accent1">
                <a:lumMod val="50000"/>
              </a:schemeClr>
            </a:solidFill>
            <a:effectLst>
              <a:outerShdw blurRad="50800" dist="38100" dir="2700000" algn="tl" rotWithShape="0">
                <a:prstClr val="black">
                  <a:alpha val="40000"/>
                </a:prstClr>
              </a:outerShdw>
            </a:effectLst>
          </a:endParaRPr>
        </a:p>
      </dsp:txBody>
      <dsp:txXfrm>
        <a:off x="8464031" y="6372158"/>
        <a:ext cx="1304377" cy="809886"/>
      </dsp:txXfrm>
    </dsp:sp>
    <dsp:sp modelId="{CB31C5D9-FDD1-8C47-A6F3-FEEAC28FE9FB}">
      <dsp:nvSpPr>
        <dsp:cNvPr id="0" name=""/>
        <dsp:cNvSpPr/>
      </dsp:nvSpPr>
      <dsp:spPr>
        <a:xfrm>
          <a:off x="6632472" y="7458250"/>
          <a:ext cx="1354771" cy="860280"/>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8B9D9512-6CB7-7744-9A7A-2438D181619D}">
      <dsp:nvSpPr>
        <dsp:cNvPr id="0" name=""/>
        <dsp:cNvSpPr/>
      </dsp:nvSpPr>
      <dsp:spPr>
        <a:xfrm>
          <a:off x="6783002" y="7601254"/>
          <a:ext cx="1354771" cy="860280"/>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smtClean="0">
              <a:solidFill>
                <a:schemeClr val="accent1">
                  <a:lumMod val="50000"/>
                </a:schemeClr>
              </a:solidFill>
              <a:effectLst>
                <a:outerShdw blurRad="50800" dist="38100" dir="2700000" algn="tl" rotWithShape="0">
                  <a:prstClr val="black">
                    <a:alpha val="40000"/>
                  </a:prstClr>
                </a:outerShdw>
              </a:effectLst>
            </a:rPr>
            <a:t>Average Order Value</a:t>
          </a:r>
          <a:endParaRPr lang="en-US" sz="1300" b="1" kern="1200" dirty="0">
            <a:solidFill>
              <a:schemeClr val="accent1">
                <a:lumMod val="50000"/>
              </a:schemeClr>
            </a:solidFill>
            <a:effectLst>
              <a:outerShdw blurRad="50800" dist="38100" dir="2700000" algn="tl" rotWithShape="0">
                <a:prstClr val="black">
                  <a:alpha val="40000"/>
                </a:prstClr>
              </a:outerShdw>
            </a:effectLst>
          </a:endParaRPr>
        </a:p>
      </dsp:txBody>
      <dsp:txXfrm>
        <a:off x="6808199" y="7626451"/>
        <a:ext cx="1304377" cy="809886"/>
      </dsp:txXfrm>
    </dsp:sp>
    <dsp:sp modelId="{18799725-392F-4B4E-B105-169BC390FEC3}">
      <dsp:nvSpPr>
        <dsp:cNvPr id="0" name=""/>
        <dsp:cNvSpPr/>
      </dsp:nvSpPr>
      <dsp:spPr>
        <a:xfrm>
          <a:off x="8288304" y="7458250"/>
          <a:ext cx="1354771" cy="860280"/>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B3E0204E-BE97-5F43-B632-7E515187FE6E}">
      <dsp:nvSpPr>
        <dsp:cNvPr id="0" name=""/>
        <dsp:cNvSpPr/>
      </dsp:nvSpPr>
      <dsp:spPr>
        <a:xfrm>
          <a:off x="8438834" y="7601254"/>
          <a:ext cx="1354771" cy="860280"/>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smtClean="0">
              <a:solidFill>
                <a:schemeClr val="accent1">
                  <a:lumMod val="50000"/>
                </a:schemeClr>
              </a:solidFill>
              <a:effectLst>
                <a:outerShdw blurRad="50800" dist="38100" dir="2700000" algn="tl" rotWithShape="0">
                  <a:prstClr val="black">
                    <a:alpha val="40000"/>
                  </a:prstClr>
                </a:outerShdw>
              </a:effectLst>
            </a:rPr>
            <a:t>Transaction Fee</a:t>
          </a:r>
          <a:endParaRPr lang="en-US" sz="1300" b="1" kern="1200" dirty="0">
            <a:solidFill>
              <a:schemeClr val="accent1">
                <a:lumMod val="50000"/>
              </a:schemeClr>
            </a:solidFill>
            <a:effectLst>
              <a:outerShdw blurRad="50800" dist="38100" dir="2700000" algn="tl" rotWithShape="0">
                <a:prstClr val="black">
                  <a:alpha val="40000"/>
                </a:prstClr>
              </a:outerShdw>
            </a:effectLst>
          </a:endParaRPr>
        </a:p>
      </dsp:txBody>
      <dsp:txXfrm>
        <a:off x="8464031" y="7626451"/>
        <a:ext cx="1304377" cy="809886"/>
      </dsp:txXfrm>
    </dsp:sp>
    <dsp:sp modelId="{7F50D514-D2C8-584B-8556-878F4FFDE0A2}">
      <dsp:nvSpPr>
        <dsp:cNvPr id="0" name=""/>
        <dsp:cNvSpPr/>
      </dsp:nvSpPr>
      <dsp:spPr>
        <a:xfrm>
          <a:off x="9944136" y="7458250"/>
          <a:ext cx="1354771" cy="860280"/>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927995AE-BB49-6D4E-BF33-831FD62FB14B}">
      <dsp:nvSpPr>
        <dsp:cNvPr id="0" name=""/>
        <dsp:cNvSpPr/>
      </dsp:nvSpPr>
      <dsp:spPr>
        <a:xfrm>
          <a:off x="10094666" y="7601254"/>
          <a:ext cx="1354771" cy="860280"/>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smtClean="0">
              <a:solidFill>
                <a:schemeClr val="accent1">
                  <a:lumMod val="50000"/>
                </a:schemeClr>
              </a:solidFill>
              <a:effectLst>
                <a:outerShdw blurRad="50800" dist="38100" dir="2700000" algn="tl" rotWithShape="0">
                  <a:prstClr val="black">
                    <a:alpha val="40000"/>
                  </a:prstClr>
                </a:outerShdw>
              </a:effectLst>
            </a:rPr>
            <a:t># of Transactions</a:t>
          </a:r>
          <a:endParaRPr lang="en-US" sz="1300" b="1" kern="1200" dirty="0">
            <a:solidFill>
              <a:schemeClr val="accent1">
                <a:lumMod val="50000"/>
              </a:schemeClr>
            </a:solidFill>
            <a:effectLst>
              <a:outerShdw blurRad="50800" dist="38100" dir="2700000" algn="tl" rotWithShape="0">
                <a:prstClr val="black">
                  <a:alpha val="40000"/>
                </a:prstClr>
              </a:outerShdw>
            </a:effectLst>
          </a:endParaRPr>
        </a:p>
      </dsp:txBody>
      <dsp:txXfrm>
        <a:off x="10119863" y="7626451"/>
        <a:ext cx="1304377" cy="809886"/>
      </dsp:txXfrm>
    </dsp:sp>
    <dsp:sp modelId="{FAC892EB-B784-E043-ADF3-5B434AE6D49B}">
      <dsp:nvSpPr>
        <dsp:cNvPr id="0" name=""/>
        <dsp:cNvSpPr/>
      </dsp:nvSpPr>
      <dsp:spPr>
        <a:xfrm>
          <a:off x="16153506" y="4949665"/>
          <a:ext cx="1354771" cy="860280"/>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41E2835E-98C5-EF49-9E5C-AD086C3D2F45}">
      <dsp:nvSpPr>
        <dsp:cNvPr id="0" name=""/>
        <dsp:cNvSpPr/>
      </dsp:nvSpPr>
      <dsp:spPr>
        <a:xfrm>
          <a:off x="16304036" y="5092669"/>
          <a:ext cx="1354771" cy="860280"/>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smtClean="0">
              <a:solidFill>
                <a:schemeClr val="accent1">
                  <a:lumMod val="50000"/>
                </a:schemeClr>
              </a:solidFill>
              <a:effectLst>
                <a:outerShdw blurRad="50800" dist="38100" dir="2700000" algn="tl" rotWithShape="0">
                  <a:prstClr val="black">
                    <a:alpha val="40000"/>
                  </a:prstClr>
                </a:outerShdw>
              </a:effectLst>
            </a:rPr>
            <a:t>Active Users</a:t>
          </a:r>
          <a:endParaRPr lang="en-US" sz="1300" b="1" kern="1200" dirty="0">
            <a:solidFill>
              <a:schemeClr val="accent1">
                <a:lumMod val="50000"/>
              </a:schemeClr>
            </a:solidFill>
            <a:effectLst>
              <a:outerShdw blurRad="50800" dist="38100" dir="2700000" algn="tl" rotWithShape="0">
                <a:prstClr val="black">
                  <a:alpha val="40000"/>
                </a:prstClr>
              </a:outerShdw>
            </a:effectLst>
          </a:endParaRPr>
        </a:p>
      </dsp:txBody>
      <dsp:txXfrm>
        <a:off x="16329233" y="5117866"/>
        <a:ext cx="1304377" cy="809886"/>
      </dsp:txXfrm>
    </dsp:sp>
    <dsp:sp modelId="{AC2D1B5A-08D2-1F49-AB84-BAB9757C89B2}">
      <dsp:nvSpPr>
        <dsp:cNvPr id="0" name=""/>
        <dsp:cNvSpPr/>
      </dsp:nvSpPr>
      <dsp:spPr>
        <a:xfrm>
          <a:off x="12427884" y="6203958"/>
          <a:ext cx="1354771" cy="860280"/>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907A74ED-E37C-2647-B1D4-789A63789E2A}">
      <dsp:nvSpPr>
        <dsp:cNvPr id="0" name=""/>
        <dsp:cNvSpPr/>
      </dsp:nvSpPr>
      <dsp:spPr>
        <a:xfrm>
          <a:off x="12578414" y="6346961"/>
          <a:ext cx="1354771" cy="860280"/>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smtClean="0">
              <a:solidFill>
                <a:schemeClr val="accent1">
                  <a:lumMod val="50000"/>
                </a:schemeClr>
              </a:solidFill>
              <a:effectLst>
                <a:outerShdw blurRad="50800" dist="38100" dir="2700000" algn="tl" rotWithShape="0">
                  <a:prstClr val="black">
                    <a:alpha val="40000"/>
                  </a:prstClr>
                </a:outerShdw>
              </a:effectLst>
            </a:rPr>
            <a:t>Visitors</a:t>
          </a:r>
          <a:endParaRPr lang="en-US" sz="1300" b="1" kern="1200" dirty="0">
            <a:solidFill>
              <a:schemeClr val="accent1">
                <a:lumMod val="50000"/>
              </a:schemeClr>
            </a:solidFill>
            <a:effectLst>
              <a:outerShdw blurRad="50800" dist="38100" dir="2700000" algn="tl" rotWithShape="0">
                <a:prstClr val="black">
                  <a:alpha val="40000"/>
                </a:prstClr>
              </a:outerShdw>
            </a:effectLst>
          </a:endParaRPr>
        </a:p>
      </dsp:txBody>
      <dsp:txXfrm>
        <a:off x="12603611" y="6372158"/>
        <a:ext cx="1304377" cy="809886"/>
      </dsp:txXfrm>
    </dsp:sp>
    <dsp:sp modelId="{E710F1B8-0DAD-B145-AE0E-F8EAFDFACD9C}">
      <dsp:nvSpPr>
        <dsp:cNvPr id="0" name=""/>
        <dsp:cNvSpPr/>
      </dsp:nvSpPr>
      <dsp:spPr>
        <a:xfrm>
          <a:off x="11599968" y="7458250"/>
          <a:ext cx="1354771" cy="860280"/>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10B26BF5-9C37-A04F-A7E2-02309B7D2282}">
      <dsp:nvSpPr>
        <dsp:cNvPr id="0" name=""/>
        <dsp:cNvSpPr/>
      </dsp:nvSpPr>
      <dsp:spPr>
        <a:xfrm>
          <a:off x="11750498" y="7601254"/>
          <a:ext cx="1354771" cy="860280"/>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smtClean="0">
              <a:solidFill>
                <a:schemeClr val="accent1">
                  <a:lumMod val="50000"/>
                </a:schemeClr>
              </a:solidFill>
              <a:effectLst>
                <a:outerShdw blurRad="50800" dist="38100" dir="2700000" algn="tl" rotWithShape="0">
                  <a:prstClr val="black">
                    <a:alpha val="40000"/>
                  </a:prstClr>
                </a:outerShdw>
              </a:effectLst>
            </a:rPr>
            <a:t>User </a:t>
          </a:r>
          <a:r>
            <a:rPr lang="en-US" sz="1300" b="1" kern="1200" dirty="0" err="1" smtClean="0">
              <a:solidFill>
                <a:schemeClr val="accent1">
                  <a:lumMod val="50000"/>
                </a:schemeClr>
              </a:solidFill>
              <a:effectLst>
                <a:outerShdw blurRad="50800" dist="38100" dir="2700000" algn="tl" rotWithShape="0">
                  <a:prstClr val="black">
                    <a:alpha val="40000"/>
                  </a:prstClr>
                </a:outerShdw>
              </a:effectLst>
            </a:rPr>
            <a:t>Acqusition</a:t>
          </a:r>
          <a:endParaRPr lang="en-US" sz="1300" b="1" kern="1200" dirty="0">
            <a:solidFill>
              <a:schemeClr val="accent1">
                <a:lumMod val="50000"/>
              </a:schemeClr>
            </a:solidFill>
            <a:effectLst>
              <a:outerShdw blurRad="50800" dist="38100" dir="2700000" algn="tl" rotWithShape="0">
                <a:prstClr val="black">
                  <a:alpha val="40000"/>
                </a:prstClr>
              </a:outerShdw>
            </a:effectLst>
          </a:endParaRPr>
        </a:p>
      </dsp:txBody>
      <dsp:txXfrm>
        <a:off x="11775695" y="7626451"/>
        <a:ext cx="1304377" cy="809886"/>
      </dsp:txXfrm>
    </dsp:sp>
    <dsp:sp modelId="{27A810AD-7B0B-804D-8F7C-AC386B4CCF91}">
      <dsp:nvSpPr>
        <dsp:cNvPr id="0" name=""/>
        <dsp:cNvSpPr/>
      </dsp:nvSpPr>
      <dsp:spPr>
        <a:xfrm>
          <a:off x="13255800" y="7458250"/>
          <a:ext cx="1354771" cy="860280"/>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DE73280C-29C7-AD47-B427-257D318489E7}">
      <dsp:nvSpPr>
        <dsp:cNvPr id="0" name=""/>
        <dsp:cNvSpPr/>
      </dsp:nvSpPr>
      <dsp:spPr>
        <a:xfrm>
          <a:off x="13406330" y="7601254"/>
          <a:ext cx="1354771" cy="860280"/>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smtClean="0">
              <a:solidFill>
                <a:schemeClr val="accent1">
                  <a:lumMod val="50000"/>
                </a:schemeClr>
              </a:solidFill>
              <a:effectLst>
                <a:outerShdw blurRad="50800" dist="38100" dir="2700000" algn="tl" rotWithShape="0">
                  <a:prstClr val="black">
                    <a:alpha val="40000"/>
                  </a:prstClr>
                </a:outerShdw>
              </a:effectLst>
            </a:rPr>
            <a:t>Customer Conversion Rate</a:t>
          </a:r>
          <a:endParaRPr lang="en-US" sz="1300" b="1" kern="1200" dirty="0">
            <a:solidFill>
              <a:schemeClr val="accent1">
                <a:lumMod val="50000"/>
              </a:schemeClr>
            </a:solidFill>
            <a:effectLst>
              <a:outerShdw blurRad="50800" dist="38100" dir="2700000" algn="tl" rotWithShape="0">
                <a:prstClr val="black">
                  <a:alpha val="40000"/>
                </a:prstClr>
              </a:outerShdw>
            </a:effectLst>
          </a:endParaRPr>
        </a:p>
      </dsp:txBody>
      <dsp:txXfrm>
        <a:off x="13431527" y="7626451"/>
        <a:ext cx="1304377" cy="809886"/>
      </dsp:txXfrm>
    </dsp:sp>
    <dsp:sp modelId="{C4A9811C-C4BA-ED45-9ECF-C4D110FB874F}">
      <dsp:nvSpPr>
        <dsp:cNvPr id="0" name=""/>
        <dsp:cNvSpPr/>
      </dsp:nvSpPr>
      <dsp:spPr>
        <a:xfrm>
          <a:off x="12427884" y="8712543"/>
          <a:ext cx="1354771" cy="860280"/>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FAA5CA3F-759B-824D-92BA-3CA616B87B8A}">
      <dsp:nvSpPr>
        <dsp:cNvPr id="0" name=""/>
        <dsp:cNvSpPr/>
      </dsp:nvSpPr>
      <dsp:spPr>
        <a:xfrm>
          <a:off x="12578414" y="8855547"/>
          <a:ext cx="1354771" cy="860280"/>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smtClean="0">
              <a:solidFill>
                <a:schemeClr val="accent1">
                  <a:lumMod val="50000"/>
                </a:schemeClr>
              </a:solidFill>
              <a:effectLst>
                <a:outerShdw blurRad="50800" dist="38100" dir="2700000" algn="tl" rotWithShape="0">
                  <a:prstClr val="black">
                    <a:alpha val="40000"/>
                  </a:prstClr>
                </a:outerShdw>
              </a:effectLst>
            </a:rPr>
            <a:t>Average # of Steps to Conversion</a:t>
          </a:r>
          <a:endParaRPr lang="en-US" sz="1300" b="1" kern="1200" dirty="0">
            <a:solidFill>
              <a:schemeClr val="accent1">
                <a:lumMod val="50000"/>
              </a:schemeClr>
            </a:solidFill>
            <a:effectLst>
              <a:outerShdw blurRad="50800" dist="38100" dir="2700000" algn="tl" rotWithShape="0">
                <a:prstClr val="black">
                  <a:alpha val="40000"/>
                </a:prstClr>
              </a:outerShdw>
            </a:effectLst>
          </a:endParaRPr>
        </a:p>
      </dsp:txBody>
      <dsp:txXfrm>
        <a:off x="12603611" y="8880744"/>
        <a:ext cx="1304377" cy="809886"/>
      </dsp:txXfrm>
    </dsp:sp>
    <dsp:sp modelId="{92107394-230A-3148-BCEB-882C2154AE77}">
      <dsp:nvSpPr>
        <dsp:cNvPr id="0" name=""/>
        <dsp:cNvSpPr/>
      </dsp:nvSpPr>
      <dsp:spPr>
        <a:xfrm>
          <a:off x="14083716" y="8712543"/>
          <a:ext cx="1354771" cy="860280"/>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55611601-3A33-9D44-8EAC-30296F6AAB7A}">
      <dsp:nvSpPr>
        <dsp:cNvPr id="0" name=""/>
        <dsp:cNvSpPr/>
      </dsp:nvSpPr>
      <dsp:spPr>
        <a:xfrm>
          <a:off x="14234246" y="8855547"/>
          <a:ext cx="1354771" cy="860280"/>
        </a:xfrm>
        <a:prstGeom prst="roundRect">
          <a:avLst>
            <a:gd name="adj" fmla="val 10000"/>
          </a:avLst>
        </a:prstGeom>
        <a:solidFill>
          <a:srgbClr val="83C2FD"/>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smtClean="0">
              <a:solidFill>
                <a:schemeClr val="accent1">
                  <a:lumMod val="50000"/>
                </a:schemeClr>
              </a:solidFill>
              <a:effectLst>
                <a:outerShdw blurRad="50800" dist="38100" dir="2700000" algn="tl" rotWithShape="0">
                  <a:prstClr val="black">
                    <a:alpha val="40000"/>
                  </a:prstClr>
                </a:outerShdw>
              </a:effectLst>
            </a:rPr>
            <a:t>Average Completion Rate / Step</a:t>
          </a:r>
          <a:endParaRPr lang="en-US" sz="1300" b="1" kern="1200" dirty="0">
            <a:solidFill>
              <a:schemeClr val="accent1">
                <a:lumMod val="50000"/>
              </a:schemeClr>
            </a:solidFill>
            <a:effectLst>
              <a:outerShdw blurRad="50800" dist="38100" dir="2700000" algn="tl" rotWithShape="0">
                <a:prstClr val="black">
                  <a:alpha val="40000"/>
                </a:prstClr>
              </a:outerShdw>
            </a:effectLst>
          </a:endParaRPr>
        </a:p>
      </dsp:txBody>
      <dsp:txXfrm>
        <a:off x="14259443" y="8880744"/>
        <a:ext cx="1304377" cy="809886"/>
      </dsp:txXfrm>
    </dsp:sp>
    <dsp:sp modelId="{0E85ABCF-8101-0240-88DB-8975FCEC3D72}">
      <dsp:nvSpPr>
        <dsp:cNvPr id="0" name=""/>
        <dsp:cNvSpPr/>
      </dsp:nvSpPr>
      <dsp:spPr>
        <a:xfrm>
          <a:off x="15739548" y="6203958"/>
          <a:ext cx="1354771" cy="860280"/>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D90E83F9-39F7-9045-8AEE-DBC35B1F9686}">
      <dsp:nvSpPr>
        <dsp:cNvPr id="0" name=""/>
        <dsp:cNvSpPr/>
      </dsp:nvSpPr>
      <dsp:spPr>
        <a:xfrm>
          <a:off x="15890078" y="6346961"/>
          <a:ext cx="1354771" cy="860280"/>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smtClean="0">
              <a:solidFill>
                <a:schemeClr val="accent1">
                  <a:lumMod val="50000"/>
                </a:schemeClr>
              </a:solidFill>
              <a:effectLst>
                <a:outerShdw blurRad="50800" dist="38100" dir="2700000" algn="tl" rotWithShape="0">
                  <a:prstClr val="black">
                    <a:alpha val="40000"/>
                  </a:prstClr>
                </a:outerShdw>
              </a:effectLst>
            </a:rPr>
            <a:t>Customers</a:t>
          </a:r>
          <a:endParaRPr lang="en-US" sz="1300" b="1" kern="1200" dirty="0">
            <a:solidFill>
              <a:schemeClr val="accent1">
                <a:lumMod val="50000"/>
              </a:schemeClr>
            </a:solidFill>
            <a:effectLst>
              <a:outerShdw blurRad="50800" dist="38100" dir="2700000" algn="tl" rotWithShape="0">
                <a:prstClr val="black">
                  <a:alpha val="40000"/>
                </a:prstClr>
              </a:outerShdw>
            </a:effectLst>
          </a:endParaRPr>
        </a:p>
      </dsp:txBody>
      <dsp:txXfrm>
        <a:off x="15915275" y="6372158"/>
        <a:ext cx="1304377" cy="809886"/>
      </dsp:txXfrm>
    </dsp:sp>
    <dsp:sp modelId="{BCEBA39F-63DF-0E4B-8AC7-ACCF22FA860F}">
      <dsp:nvSpPr>
        <dsp:cNvPr id="0" name=""/>
        <dsp:cNvSpPr/>
      </dsp:nvSpPr>
      <dsp:spPr>
        <a:xfrm>
          <a:off x="14911632" y="7458250"/>
          <a:ext cx="1354771" cy="860280"/>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F5577EBD-106E-1140-8136-A003E3567A38}">
      <dsp:nvSpPr>
        <dsp:cNvPr id="0" name=""/>
        <dsp:cNvSpPr/>
      </dsp:nvSpPr>
      <dsp:spPr>
        <a:xfrm>
          <a:off x="15062162" y="7601254"/>
          <a:ext cx="1354771" cy="860280"/>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smtClean="0">
              <a:solidFill>
                <a:schemeClr val="accent1">
                  <a:lumMod val="50000"/>
                </a:schemeClr>
              </a:solidFill>
              <a:effectLst>
                <a:outerShdw blurRad="50800" dist="38100" dir="2700000" algn="tl" rotWithShape="0">
                  <a:prstClr val="black">
                    <a:alpha val="40000"/>
                  </a:prstClr>
                </a:outerShdw>
              </a:effectLst>
            </a:rPr>
            <a:t>Retention</a:t>
          </a:r>
          <a:endParaRPr lang="en-US" sz="1300" b="1" kern="1200" dirty="0">
            <a:solidFill>
              <a:schemeClr val="accent1">
                <a:lumMod val="50000"/>
              </a:schemeClr>
            </a:solidFill>
            <a:effectLst>
              <a:outerShdw blurRad="50800" dist="38100" dir="2700000" algn="tl" rotWithShape="0">
                <a:prstClr val="black">
                  <a:alpha val="40000"/>
                </a:prstClr>
              </a:outerShdw>
            </a:effectLst>
          </a:endParaRPr>
        </a:p>
      </dsp:txBody>
      <dsp:txXfrm>
        <a:off x="15087359" y="7626451"/>
        <a:ext cx="1304377" cy="809886"/>
      </dsp:txXfrm>
    </dsp:sp>
    <dsp:sp modelId="{F7CD8B13-4EA0-DB4E-878F-19531B269BF8}">
      <dsp:nvSpPr>
        <dsp:cNvPr id="0" name=""/>
        <dsp:cNvSpPr/>
      </dsp:nvSpPr>
      <dsp:spPr>
        <a:xfrm>
          <a:off x="16567464" y="7458250"/>
          <a:ext cx="1354771" cy="860280"/>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FA324DE0-8B3D-E746-BC7B-AE178953D5C9}">
      <dsp:nvSpPr>
        <dsp:cNvPr id="0" name=""/>
        <dsp:cNvSpPr/>
      </dsp:nvSpPr>
      <dsp:spPr>
        <a:xfrm>
          <a:off x="16717994" y="7601254"/>
          <a:ext cx="1354771" cy="860280"/>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smtClean="0">
              <a:solidFill>
                <a:schemeClr val="accent1">
                  <a:lumMod val="50000"/>
                </a:schemeClr>
              </a:solidFill>
              <a:effectLst>
                <a:outerShdw blurRad="50800" dist="38100" dir="2700000" algn="tl" rotWithShape="0">
                  <a:prstClr val="black">
                    <a:alpha val="40000"/>
                  </a:prstClr>
                </a:outerShdw>
              </a:effectLst>
            </a:rPr>
            <a:t>Feature Adoption</a:t>
          </a:r>
          <a:endParaRPr lang="en-US" sz="1300" b="1" kern="1200" dirty="0">
            <a:solidFill>
              <a:schemeClr val="accent1">
                <a:lumMod val="50000"/>
              </a:schemeClr>
            </a:solidFill>
            <a:effectLst>
              <a:outerShdw blurRad="50800" dist="38100" dir="2700000" algn="tl" rotWithShape="0">
                <a:prstClr val="black">
                  <a:alpha val="40000"/>
                </a:prstClr>
              </a:outerShdw>
            </a:effectLst>
          </a:endParaRPr>
        </a:p>
      </dsp:txBody>
      <dsp:txXfrm>
        <a:off x="16743191" y="7626451"/>
        <a:ext cx="1304377" cy="809886"/>
      </dsp:txXfrm>
    </dsp:sp>
    <dsp:sp modelId="{BFAC07A3-44D0-084C-AB18-7D361A99A93F}">
      <dsp:nvSpPr>
        <dsp:cNvPr id="0" name=""/>
        <dsp:cNvSpPr/>
      </dsp:nvSpPr>
      <dsp:spPr>
        <a:xfrm>
          <a:off x="19879128" y="6203958"/>
          <a:ext cx="1354771" cy="860280"/>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55864D8C-48A1-AC46-BAFA-12839E203F76}">
      <dsp:nvSpPr>
        <dsp:cNvPr id="0" name=""/>
        <dsp:cNvSpPr/>
      </dsp:nvSpPr>
      <dsp:spPr>
        <a:xfrm>
          <a:off x="20029658" y="6346961"/>
          <a:ext cx="1354771" cy="860280"/>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smtClean="0">
              <a:solidFill>
                <a:schemeClr val="accent1">
                  <a:lumMod val="50000"/>
                </a:schemeClr>
              </a:solidFill>
              <a:effectLst>
                <a:outerShdw blurRad="50800" dist="38100" dir="2700000" algn="tl" rotWithShape="0">
                  <a:prstClr val="black">
                    <a:alpha val="40000"/>
                  </a:prstClr>
                </a:outerShdw>
              </a:effectLst>
            </a:rPr>
            <a:t>Active Users</a:t>
          </a:r>
          <a:endParaRPr lang="en-US" sz="1300" b="1" kern="1200" dirty="0">
            <a:solidFill>
              <a:schemeClr val="accent1">
                <a:lumMod val="50000"/>
              </a:schemeClr>
            </a:solidFill>
            <a:effectLst>
              <a:outerShdw blurRad="50800" dist="38100" dir="2700000" algn="tl" rotWithShape="0">
                <a:prstClr val="black">
                  <a:alpha val="40000"/>
                </a:prstClr>
              </a:outerShdw>
            </a:effectLst>
          </a:endParaRPr>
        </a:p>
      </dsp:txBody>
      <dsp:txXfrm>
        <a:off x="20054855" y="6372158"/>
        <a:ext cx="1304377" cy="809886"/>
      </dsp:txXfrm>
    </dsp:sp>
    <dsp:sp modelId="{FBEE83CC-5828-DA48-8121-631FC4FCC639}">
      <dsp:nvSpPr>
        <dsp:cNvPr id="0" name=""/>
        <dsp:cNvSpPr/>
      </dsp:nvSpPr>
      <dsp:spPr>
        <a:xfrm>
          <a:off x="18223296" y="7458250"/>
          <a:ext cx="1354771" cy="860280"/>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22276705-AC73-D54D-B3F6-41AE5ED79766}">
      <dsp:nvSpPr>
        <dsp:cNvPr id="0" name=""/>
        <dsp:cNvSpPr/>
      </dsp:nvSpPr>
      <dsp:spPr>
        <a:xfrm>
          <a:off x="18373826" y="7601254"/>
          <a:ext cx="1354771" cy="860280"/>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smtClean="0">
              <a:solidFill>
                <a:schemeClr val="accent1">
                  <a:lumMod val="50000"/>
                </a:schemeClr>
              </a:solidFill>
              <a:effectLst>
                <a:outerShdw blurRad="50800" dist="38100" dir="2700000" algn="tl" rotWithShape="0">
                  <a:prstClr val="black">
                    <a:alpha val="40000"/>
                  </a:prstClr>
                </a:outerShdw>
              </a:effectLst>
            </a:rPr>
            <a:t>Retention</a:t>
          </a:r>
          <a:endParaRPr lang="en-US" sz="1300" b="1" kern="1200" dirty="0">
            <a:solidFill>
              <a:schemeClr val="accent1">
                <a:lumMod val="50000"/>
              </a:schemeClr>
            </a:solidFill>
            <a:effectLst>
              <a:outerShdw blurRad="50800" dist="38100" dir="2700000" algn="tl" rotWithShape="0">
                <a:prstClr val="black">
                  <a:alpha val="40000"/>
                </a:prstClr>
              </a:outerShdw>
            </a:effectLst>
          </a:endParaRPr>
        </a:p>
      </dsp:txBody>
      <dsp:txXfrm>
        <a:off x="18399023" y="7626451"/>
        <a:ext cx="1304377" cy="809886"/>
      </dsp:txXfrm>
    </dsp:sp>
    <dsp:sp modelId="{A5A61364-026C-7F4C-9380-E28460DA2CED}">
      <dsp:nvSpPr>
        <dsp:cNvPr id="0" name=""/>
        <dsp:cNvSpPr/>
      </dsp:nvSpPr>
      <dsp:spPr>
        <a:xfrm>
          <a:off x="19879128" y="7458250"/>
          <a:ext cx="1354771" cy="860280"/>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60FFA547-FCB7-C04F-BDDB-0C399FE9B475}">
      <dsp:nvSpPr>
        <dsp:cNvPr id="0" name=""/>
        <dsp:cNvSpPr/>
      </dsp:nvSpPr>
      <dsp:spPr>
        <a:xfrm>
          <a:off x="20029658" y="7601254"/>
          <a:ext cx="1354771" cy="860280"/>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smtClean="0">
              <a:solidFill>
                <a:schemeClr val="accent1">
                  <a:lumMod val="50000"/>
                </a:schemeClr>
              </a:solidFill>
              <a:effectLst>
                <a:outerShdw blurRad="50800" dist="38100" dir="2700000" algn="tl" rotWithShape="0">
                  <a:prstClr val="black">
                    <a:alpha val="40000"/>
                  </a:prstClr>
                </a:outerShdw>
              </a:effectLst>
            </a:rPr>
            <a:t>Feature Adoption</a:t>
          </a:r>
          <a:endParaRPr lang="en-US" sz="1300" b="1" kern="1200" dirty="0">
            <a:solidFill>
              <a:schemeClr val="accent1">
                <a:lumMod val="50000"/>
              </a:schemeClr>
            </a:solidFill>
            <a:effectLst>
              <a:outerShdw blurRad="50800" dist="38100" dir="2700000" algn="tl" rotWithShape="0">
                <a:prstClr val="black">
                  <a:alpha val="40000"/>
                </a:prstClr>
              </a:outerShdw>
            </a:effectLst>
          </a:endParaRPr>
        </a:p>
      </dsp:txBody>
      <dsp:txXfrm>
        <a:off x="20054855" y="7626451"/>
        <a:ext cx="1304377" cy="809886"/>
      </dsp:txXfrm>
    </dsp:sp>
    <dsp:sp modelId="{9150D0B0-9B69-FA48-ABED-C900B5E97B43}">
      <dsp:nvSpPr>
        <dsp:cNvPr id="0" name=""/>
        <dsp:cNvSpPr/>
      </dsp:nvSpPr>
      <dsp:spPr>
        <a:xfrm>
          <a:off x="21534960" y="7458250"/>
          <a:ext cx="1354771" cy="860280"/>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D968E578-B316-7743-A82A-040A191D3085}">
      <dsp:nvSpPr>
        <dsp:cNvPr id="0" name=""/>
        <dsp:cNvSpPr/>
      </dsp:nvSpPr>
      <dsp:spPr>
        <a:xfrm>
          <a:off x="21685490" y="7601254"/>
          <a:ext cx="1354771" cy="860280"/>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smtClean="0">
              <a:solidFill>
                <a:schemeClr val="accent1">
                  <a:lumMod val="50000"/>
                </a:schemeClr>
              </a:solidFill>
              <a:effectLst>
                <a:outerShdw blurRad="50800" dist="38100" dir="2700000" algn="tl" rotWithShape="0">
                  <a:prstClr val="black">
                    <a:alpha val="40000"/>
                  </a:prstClr>
                </a:outerShdw>
              </a:effectLst>
            </a:rPr>
            <a:t>Habitual</a:t>
          </a:r>
          <a:endParaRPr lang="en-US" sz="1300" b="1" kern="1200" dirty="0">
            <a:solidFill>
              <a:schemeClr val="accent1">
                <a:lumMod val="50000"/>
              </a:schemeClr>
            </a:solidFill>
            <a:effectLst>
              <a:outerShdw blurRad="50800" dist="38100" dir="2700000" algn="tl" rotWithShape="0">
                <a:prstClr val="black">
                  <a:alpha val="40000"/>
                </a:prstClr>
              </a:outerShdw>
            </a:effectLst>
          </a:endParaRPr>
        </a:p>
      </dsp:txBody>
      <dsp:txXfrm>
        <a:off x="21710687" y="7626451"/>
        <a:ext cx="1304377" cy="80988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101F31-B493-FC4F-BA98-4DA93A046699}">
      <dsp:nvSpPr>
        <dsp:cNvPr id="0" name=""/>
        <dsp:cNvSpPr/>
      </dsp:nvSpPr>
      <dsp:spPr>
        <a:xfrm>
          <a:off x="17501610" y="5376340"/>
          <a:ext cx="440545" cy="6401706"/>
        </a:xfrm>
        <a:custGeom>
          <a:avLst/>
          <a:gdLst/>
          <a:ahLst/>
          <a:cxnLst/>
          <a:rect l="0" t="0" r="0" b="0"/>
          <a:pathLst>
            <a:path>
              <a:moveTo>
                <a:pt x="0" y="0"/>
              </a:moveTo>
              <a:lnTo>
                <a:pt x="0" y="6401706"/>
              </a:lnTo>
              <a:lnTo>
                <a:pt x="440545" y="64017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E80B93D-D000-8B4B-8100-E0B67DB0E877}">
      <dsp:nvSpPr>
        <dsp:cNvPr id="0" name=""/>
        <dsp:cNvSpPr/>
      </dsp:nvSpPr>
      <dsp:spPr>
        <a:xfrm>
          <a:off x="17501610" y="5376340"/>
          <a:ext cx="440545" cy="3941682"/>
        </a:xfrm>
        <a:custGeom>
          <a:avLst/>
          <a:gdLst/>
          <a:ahLst/>
          <a:cxnLst/>
          <a:rect l="0" t="0" r="0" b="0"/>
          <a:pathLst>
            <a:path>
              <a:moveTo>
                <a:pt x="0" y="0"/>
              </a:moveTo>
              <a:lnTo>
                <a:pt x="0" y="3941682"/>
              </a:lnTo>
              <a:lnTo>
                <a:pt x="440545" y="394168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8EACF5C-66CA-3E4D-8C5C-FF5941FDB285}">
      <dsp:nvSpPr>
        <dsp:cNvPr id="0" name=""/>
        <dsp:cNvSpPr/>
      </dsp:nvSpPr>
      <dsp:spPr>
        <a:xfrm>
          <a:off x="17501610" y="5376340"/>
          <a:ext cx="440545" cy="1481659"/>
        </a:xfrm>
        <a:custGeom>
          <a:avLst/>
          <a:gdLst/>
          <a:ahLst/>
          <a:cxnLst/>
          <a:rect l="0" t="0" r="0" b="0"/>
          <a:pathLst>
            <a:path>
              <a:moveTo>
                <a:pt x="0" y="0"/>
              </a:moveTo>
              <a:lnTo>
                <a:pt x="0" y="1481659"/>
              </a:lnTo>
              <a:lnTo>
                <a:pt x="440545" y="148165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D0BC2B8-08A5-504D-8B97-A8DFE6F2353D}">
      <dsp:nvSpPr>
        <dsp:cNvPr id="0" name=""/>
        <dsp:cNvSpPr/>
      </dsp:nvSpPr>
      <dsp:spPr>
        <a:xfrm>
          <a:off x="10075740" y="2916317"/>
          <a:ext cx="8600657" cy="503295"/>
        </a:xfrm>
        <a:custGeom>
          <a:avLst/>
          <a:gdLst/>
          <a:ahLst/>
          <a:cxnLst/>
          <a:rect l="0" t="0" r="0" b="0"/>
          <a:pathLst>
            <a:path>
              <a:moveTo>
                <a:pt x="0" y="0"/>
              </a:moveTo>
              <a:lnTo>
                <a:pt x="0" y="251647"/>
              </a:lnTo>
              <a:lnTo>
                <a:pt x="8600657" y="251647"/>
              </a:lnTo>
              <a:lnTo>
                <a:pt x="8600657" y="50329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5969C0C-C4EF-8044-B112-A2052B5FA261}">
      <dsp:nvSpPr>
        <dsp:cNvPr id="0" name=""/>
        <dsp:cNvSpPr/>
      </dsp:nvSpPr>
      <dsp:spPr>
        <a:xfrm>
          <a:off x="14061347" y="5376340"/>
          <a:ext cx="440545" cy="6401706"/>
        </a:xfrm>
        <a:custGeom>
          <a:avLst/>
          <a:gdLst/>
          <a:ahLst/>
          <a:cxnLst/>
          <a:rect l="0" t="0" r="0" b="0"/>
          <a:pathLst>
            <a:path>
              <a:moveTo>
                <a:pt x="0" y="0"/>
              </a:moveTo>
              <a:lnTo>
                <a:pt x="0" y="6401706"/>
              </a:lnTo>
              <a:lnTo>
                <a:pt x="440545" y="64017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440B106-7C72-9547-AE5A-A590A6A7292B}">
      <dsp:nvSpPr>
        <dsp:cNvPr id="0" name=""/>
        <dsp:cNvSpPr/>
      </dsp:nvSpPr>
      <dsp:spPr>
        <a:xfrm>
          <a:off x="14061347" y="5376340"/>
          <a:ext cx="440545" cy="3941682"/>
        </a:xfrm>
        <a:custGeom>
          <a:avLst/>
          <a:gdLst/>
          <a:ahLst/>
          <a:cxnLst/>
          <a:rect l="0" t="0" r="0" b="0"/>
          <a:pathLst>
            <a:path>
              <a:moveTo>
                <a:pt x="0" y="0"/>
              </a:moveTo>
              <a:lnTo>
                <a:pt x="0" y="3941682"/>
              </a:lnTo>
              <a:lnTo>
                <a:pt x="440545" y="394168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4F6E45F-C07E-304C-AB67-8E8552A42778}">
      <dsp:nvSpPr>
        <dsp:cNvPr id="0" name=""/>
        <dsp:cNvSpPr/>
      </dsp:nvSpPr>
      <dsp:spPr>
        <a:xfrm>
          <a:off x="14061347" y="5376340"/>
          <a:ext cx="440545" cy="1481659"/>
        </a:xfrm>
        <a:custGeom>
          <a:avLst/>
          <a:gdLst/>
          <a:ahLst/>
          <a:cxnLst/>
          <a:rect l="0" t="0" r="0" b="0"/>
          <a:pathLst>
            <a:path>
              <a:moveTo>
                <a:pt x="0" y="0"/>
              </a:moveTo>
              <a:lnTo>
                <a:pt x="0" y="1481659"/>
              </a:lnTo>
              <a:lnTo>
                <a:pt x="440545" y="148165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480E8B4-F1B6-8246-9806-7D2D0CB68815}">
      <dsp:nvSpPr>
        <dsp:cNvPr id="0" name=""/>
        <dsp:cNvSpPr/>
      </dsp:nvSpPr>
      <dsp:spPr>
        <a:xfrm>
          <a:off x="10075740" y="2916317"/>
          <a:ext cx="5160394" cy="503295"/>
        </a:xfrm>
        <a:custGeom>
          <a:avLst/>
          <a:gdLst/>
          <a:ahLst/>
          <a:cxnLst/>
          <a:rect l="0" t="0" r="0" b="0"/>
          <a:pathLst>
            <a:path>
              <a:moveTo>
                <a:pt x="0" y="0"/>
              </a:moveTo>
              <a:lnTo>
                <a:pt x="0" y="251647"/>
              </a:lnTo>
              <a:lnTo>
                <a:pt x="5160394" y="251647"/>
              </a:lnTo>
              <a:lnTo>
                <a:pt x="5160394" y="50329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BF62F60-4DCC-6C46-AE65-EDFFE870F1F4}">
      <dsp:nvSpPr>
        <dsp:cNvPr id="0" name=""/>
        <dsp:cNvSpPr/>
      </dsp:nvSpPr>
      <dsp:spPr>
        <a:xfrm>
          <a:off x="10621084" y="5376340"/>
          <a:ext cx="440545" cy="6401706"/>
        </a:xfrm>
        <a:custGeom>
          <a:avLst/>
          <a:gdLst/>
          <a:ahLst/>
          <a:cxnLst/>
          <a:rect l="0" t="0" r="0" b="0"/>
          <a:pathLst>
            <a:path>
              <a:moveTo>
                <a:pt x="0" y="0"/>
              </a:moveTo>
              <a:lnTo>
                <a:pt x="0" y="6401706"/>
              </a:lnTo>
              <a:lnTo>
                <a:pt x="440545" y="64017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C9BEE53-E580-D245-BCCD-590C85D76065}">
      <dsp:nvSpPr>
        <dsp:cNvPr id="0" name=""/>
        <dsp:cNvSpPr/>
      </dsp:nvSpPr>
      <dsp:spPr>
        <a:xfrm>
          <a:off x="10621084" y="5376340"/>
          <a:ext cx="440545" cy="3941682"/>
        </a:xfrm>
        <a:custGeom>
          <a:avLst/>
          <a:gdLst/>
          <a:ahLst/>
          <a:cxnLst/>
          <a:rect l="0" t="0" r="0" b="0"/>
          <a:pathLst>
            <a:path>
              <a:moveTo>
                <a:pt x="0" y="0"/>
              </a:moveTo>
              <a:lnTo>
                <a:pt x="0" y="3941682"/>
              </a:lnTo>
              <a:lnTo>
                <a:pt x="440545" y="394168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B5B0F12-5DDA-9943-9092-2A10F2FE9601}">
      <dsp:nvSpPr>
        <dsp:cNvPr id="0" name=""/>
        <dsp:cNvSpPr/>
      </dsp:nvSpPr>
      <dsp:spPr>
        <a:xfrm>
          <a:off x="10621084" y="5376340"/>
          <a:ext cx="440545" cy="1481659"/>
        </a:xfrm>
        <a:custGeom>
          <a:avLst/>
          <a:gdLst/>
          <a:ahLst/>
          <a:cxnLst/>
          <a:rect l="0" t="0" r="0" b="0"/>
          <a:pathLst>
            <a:path>
              <a:moveTo>
                <a:pt x="0" y="0"/>
              </a:moveTo>
              <a:lnTo>
                <a:pt x="0" y="1481659"/>
              </a:lnTo>
              <a:lnTo>
                <a:pt x="440545" y="148165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23D0151-0AF0-7A44-BCE6-C10462839127}">
      <dsp:nvSpPr>
        <dsp:cNvPr id="0" name=""/>
        <dsp:cNvSpPr/>
      </dsp:nvSpPr>
      <dsp:spPr>
        <a:xfrm>
          <a:off x="10075740" y="2916317"/>
          <a:ext cx="1720131" cy="503295"/>
        </a:xfrm>
        <a:custGeom>
          <a:avLst/>
          <a:gdLst/>
          <a:ahLst/>
          <a:cxnLst/>
          <a:rect l="0" t="0" r="0" b="0"/>
          <a:pathLst>
            <a:path>
              <a:moveTo>
                <a:pt x="0" y="0"/>
              </a:moveTo>
              <a:lnTo>
                <a:pt x="0" y="251647"/>
              </a:lnTo>
              <a:lnTo>
                <a:pt x="1720131" y="251647"/>
              </a:lnTo>
              <a:lnTo>
                <a:pt x="1720131" y="50329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030E2EE-B0D1-364F-B6DF-876E246B6AE1}">
      <dsp:nvSpPr>
        <dsp:cNvPr id="0" name=""/>
        <dsp:cNvSpPr/>
      </dsp:nvSpPr>
      <dsp:spPr>
        <a:xfrm>
          <a:off x="7180821" y="5376340"/>
          <a:ext cx="440545" cy="6401706"/>
        </a:xfrm>
        <a:custGeom>
          <a:avLst/>
          <a:gdLst/>
          <a:ahLst/>
          <a:cxnLst/>
          <a:rect l="0" t="0" r="0" b="0"/>
          <a:pathLst>
            <a:path>
              <a:moveTo>
                <a:pt x="0" y="0"/>
              </a:moveTo>
              <a:lnTo>
                <a:pt x="0" y="6401706"/>
              </a:lnTo>
              <a:lnTo>
                <a:pt x="440545" y="64017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29F0079-A483-7E48-A321-97C36DBA0475}">
      <dsp:nvSpPr>
        <dsp:cNvPr id="0" name=""/>
        <dsp:cNvSpPr/>
      </dsp:nvSpPr>
      <dsp:spPr>
        <a:xfrm>
          <a:off x="7180821" y="5376340"/>
          <a:ext cx="440545" cy="3941682"/>
        </a:xfrm>
        <a:custGeom>
          <a:avLst/>
          <a:gdLst/>
          <a:ahLst/>
          <a:cxnLst/>
          <a:rect l="0" t="0" r="0" b="0"/>
          <a:pathLst>
            <a:path>
              <a:moveTo>
                <a:pt x="0" y="0"/>
              </a:moveTo>
              <a:lnTo>
                <a:pt x="0" y="3941682"/>
              </a:lnTo>
              <a:lnTo>
                <a:pt x="440545" y="394168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62CB30F-6901-594F-8775-B46F34227BC9}">
      <dsp:nvSpPr>
        <dsp:cNvPr id="0" name=""/>
        <dsp:cNvSpPr/>
      </dsp:nvSpPr>
      <dsp:spPr>
        <a:xfrm>
          <a:off x="7180821" y="5376340"/>
          <a:ext cx="440545" cy="1481659"/>
        </a:xfrm>
        <a:custGeom>
          <a:avLst/>
          <a:gdLst/>
          <a:ahLst/>
          <a:cxnLst/>
          <a:rect l="0" t="0" r="0" b="0"/>
          <a:pathLst>
            <a:path>
              <a:moveTo>
                <a:pt x="0" y="0"/>
              </a:moveTo>
              <a:lnTo>
                <a:pt x="0" y="1481659"/>
              </a:lnTo>
              <a:lnTo>
                <a:pt x="440545" y="148165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0491EA-604E-6842-9866-DF2E9CD33930}">
      <dsp:nvSpPr>
        <dsp:cNvPr id="0" name=""/>
        <dsp:cNvSpPr/>
      </dsp:nvSpPr>
      <dsp:spPr>
        <a:xfrm>
          <a:off x="8355608" y="2916317"/>
          <a:ext cx="1720131" cy="503295"/>
        </a:xfrm>
        <a:custGeom>
          <a:avLst/>
          <a:gdLst/>
          <a:ahLst/>
          <a:cxnLst/>
          <a:rect l="0" t="0" r="0" b="0"/>
          <a:pathLst>
            <a:path>
              <a:moveTo>
                <a:pt x="1720131" y="0"/>
              </a:moveTo>
              <a:lnTo>
                <a:pt x="1720131" y="251647"/>
              </a:lnTo>
              <a:lnTo>
                <a:pt x="0" y="251647"/>
              </a:lnTo>
              <a:lnTo>
                <a:pt x="0" y="50329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DC6FEB6-D342-A148-B4E4-3574392637D2}">
      <dsp:nvSpPr>
        <dsp:cNvPr id="0" name=""/>
        <dsp:cNvSpPr/>
      </dsp:nvSpPr>
      <dsp:spPr>
        <a:xfrm>
          <a:off x="3740558" y="5376340"/>
          <a:ext cx="440545" cy="6401706"/>
        </a:xfrm>
        <a:custGeom>
          <a:avLst/>
          <a:gdLst/>
          <a:ahLst/>
          <a:cxnLst/>
          <a:rect l="0" t="0" r="0" b="0"/>
          <a:pathLst>
            <a:path>
              <a:moveTo>
                <a:pt x="0" y="0"/>
              </a:moveTo>
              <a:lnTo>
                <a:pt x="0" y="6401706"/>
              </a:lnTo>
              <a:lnTo>
                <a:pt x="440545" y="64017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CD5F04D-881E-FF45-840F-9065F725359E}">
      <dsp:nvSpPr>
        <dsp:cNvPr id="0" name=""/>
        <dsp:cNvSpPr/>
      </dsp:nvSpPr>
      <dsp:spPr>
        <a:xfrm>
          <a:off x="3740558" y="5376340"/>
          <a:ext cx="440545" cy="3941682"/>
        </a:xfrm>
        <a:custGeom>
          <a:avLst/>
          <a:gdLst/>
          <a:ahLst/>
          <a:cxnLst/>
          <a:rect l="0" t="0" r="0" b="0"/>
          <a:pathLst>
            <a:path>
              <a:moveTo>
                <a:pt x="0" y="0"/>
              </a:moveTo>
              <a:lnTo>
                <a:pt x="0" y="3941682"/>
              </a:lnTo>
              <a:lnTo>
                <a:pt x="440545" y="394168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CB70BC6-8BC2-7740-8498-E09039141FAE}">
      <dsp:nvSpPr>
        <dsp:cNvPr id="0" name=""/>
        <dsp:cNvSpPr/>
      </dsp:nvSpPr>
      <dsp:spPr>
        <a:xfrm>
          <a:off x="3740558" y="5376340"/>
          <a:ext cx="440545" cy="1481659"/>
        </a:xfrm>
        <a:custGeom>
          <a:avLst/>
          <a:gdLst/>
          <a:ahLst/>
          <a:cxnLst/>
          <a:rect l="0" t="0" r="0" b="0"/>
          <a:pathLst>
            <a:path>
              <a:moveTo>
                <a:pt x="0" y="0"/>
              </a:moveTo>
              <a:lnTo>
                <a:pt x="0" y="1481659"/>
              </a:lnTo>
              <a:lnTo>
                <a:pt x="440545" y="148165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AB3DB73-5383-E944-8E93-5490DBAC07ED}">
      <dsp:nvSpPr>
        <dsp:cNvPr id="0" name=""/>
        <dsp:cNvSpPr/>
      </dsp:nvSpPr>
      <dsp:spPr>
        <a:xfrm>
          <a:off x="4915345" y="2916317"/>
          <a:ext cx="5160394" cy="503295"/>
        </a:xfrm>
        <a:custGeom>
          <a:avLst/>
          <a:gdLst/>
          <a:ahLst/>
          <a:cxnLst/>
          <a:rect l="0" t="0" r="0" b="0"/>
          <a:pathLst>
            <a:path>
              <a:moveTo>
                <a:pt x="5160394" y="0"/>
              </a:moveTo>
              <a:lnTo>
                <a:pt x="5160394" y="251647"/>
              </a:lnTo>
              <a:lnTo>
                <a:pt x="0" y="251647"/>
              </a:lnTo>
              <a:lnTo>
                <a:pt x="0" y="50329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DA8158C-1C6B-024B-9E64-1510DD2C7A55}">
      <dsp:nvSpPr>
        <dsp:cNvPr id="0" name=""/>
        <dsp:cNvSpPr/>
      </dsp:nvSpPr>
      <dsp:spPr>
        <a:xfrm>
          <a:off x="300295" y="5376340"/>
          <a:ext cx="440545" cy="6401706"/>
        </a:xfrm>
        <a:custGeom>
          <a:avLst/>
          <a:gdLst/>
          <a:ahLst/>
          <a:cxnLst/>
          <a:rect l="0" t="0" r="0" b="0"/>
          <a:pathLst>
            <a:path>
              <a:moveTo>
                <a:pt x="0" y="0"/>
              </a:moveTo>
              <a:lnTo>
                <a:pt x="0" y="6401706"/>
              </a:lnTo>
              <a:lnTo>
                <a:pt x="440545" y="64017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8E2A4D5-E62D-B048-BDF2-2627D68216CE}">
      <dsp:nvSpPr>
        <dsp:cNvPr id="0" name=""/>
        <dsp:cNvSpPr/>
      </dsp:nvSpPr>
      <dsp:spPr>
        <a:xfrm>
          <a:off x="300295" y="5376340"/>
          <a:ext cx="440545" cy="3941682"/>
        </a:xfrm>
        <a:custGeom>
          <a:avLst/>
          <a:gdLst/>
          <a:ahLst/>
          <a:cxnLst/>
          <a:rect l="0" t="0" r="0" b="0"/>
          <a:pathLst>
            <a:path>
              <a:moveTo>
                <a:pt x="0" y="0"/>
              </a:moveTo>
              <a:lnTo>
                <a:pt x="0" y="3941682"/>
              </a:lnTo>
              <a:lnTo>
                <a:pt x="440545" y="394168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4E963F3-2784-9E43-9E90-000EB562AE2A}">
      <dsp:nvSpPr>
        <dsp:cNvPr id="0" name=""/>
        <dsp:cNvSpPr/>
      </dsp:nvSpPr>
      <dsp:spPr>
        <a:xfrm>
          <a:off x="300295" y="5376340"/>
          <a:ext cx="440545" cy="1481659"/>
        </a:xfrm>
        <a:custGeom>
          <a:avLst/>
          <a:gdLst/>
          <a:ahLst/>
          <a:cxnLst/>
          <a:rect l="0" t="0" r="0" b="0"/>
          <a:pathLst>
            <a:path>
              <a:moveTo>
                <a:pt x="0" y="0"/>
              </a:moveTo>
              <a:lnTo>
                <a:pt x="0" y="1481659"/>
              </a:lnTo>
              <a:lnTo>
                <a:pt x="440545" y="148165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F5D9B2B-0CE6-4D47-A7B6-80BAEBDC59FC}">
      <dsp:nvSpPr>
        <dsp:cNvPr id="0" name=""/>
        <dsp:cNvSpPr/>
      </dsp:nvSpPr>
      <dsp:spPr>
        <a:xfrm>
          <a:off x="1475082" y="2916317"/>
          <a:ext cx="8600657" cy="503295"/>
        </a:xfrm>
        <a:custGeom>
          <a:avLst/>
          <a:gdLst/>
          <a:ahLst/>
          <a:cxnLst/>
          <a:rect l="0" t="0" r="0" b="0"/>
          <a:pathLst>
            <a:path>
              <a:moveTo>
                <a:pt x="8600657" y="0"/>
              </a:moveTo>
              <a:lnTo>
                <a:pt x="8600657" y="251647"/>
              </a:lnTo>
              <a:lnTo>
                <a:pt x="0" y="251647"/>
              </a:lnTo>
              <a:lnTo>
                <a:pt x="0" y="50329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6637420-A86F-4644-990A-75D86B7E454C}">
      <dsp:nvSpPr>
        <dsp:cNvPr id="0" name=""/>
        <dsp:cNvSpPr/>
      </dsp:nvSpPr>
      <dsp:spPr>
        <a:xfrm>
          <a:off x="8569077" y="959588"/>
          <a:ext cx="3013324" cy="1956728"/>
        </a:xfrm>
        <a:prstGeom prst="roundRect">
          <a:avLst/>
        </a:prstGeom>
        <a:solidFill>
          <a:schemeClr val="accent1">
            <a:lumMod val="5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Add to Cart</a:t>
          </a:r>
          <a:endParaRPr lang="en-US" sz="2000" b="1" kern="1200" dirty="0"/>
        </a:p>
      </dsp:txBody>
      <dsp:txXfrm>
        <a:off x="8664597" y="1055108"/>
        <a:ext cx="2822284" cy="1765688"/>
      </dsp:txXfrm>
    </dsp:sp>
    <dsp:sp modelId="{91D7ADA8-1475-9349-913E-9C2D53C1D7C9}">
      <dsp:nvSpPr>
        <dsp:cNvPr id="0" name=""/>
        <dsp:cNvSpPr/>
      </dsp:nvSpPr>
      <dsp:spPr>
        <a:xfrm>
          <a:off x="6598" y="3419612"/>
          <a:ext cx="2936967" cy="1956728"/>
        </a:xfrm>
        <a:prstGeom prst="roundRect">
          <a:avLst/>
        </a:prstGeom>
        <a:solidFill>
          <a:schemeClr val="accent1">
            <a:hueOff val="0"/>
            <a:satOff val="0"/>
            <a:lumOff val="0"/>
            <a:alphaOff val="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smtClean="0">
              <a:effectLst>
                <a:outerShdw blurRad="50800" dist="38100" dir="2700000" algn="tl" rotWithShape="0">
                  <a:prstClr val="black">
                    <a:alpha val="40000"/>
                  </a:prstClr>
                </a:outerShdw>
              </a:effectLst>
            </a:rPr>
            <a:t>Emphasize the Primary Call to Action</a:t>
          </a:r>
          <a:endParaRPr lang="en-US" sz="2000" b="1" kern="1200" dirty="0">
            <a:effectLst>
              <a:outerShdw blurRad="50800" dist="38100" dir="2700000" algn="tl" rotWithShape="0">
                <a:prstClr val="black">
                  <a:alpha val="40000"/>
                </a:prstClr>
              </a:outerShdw>
            </a:effectLst>
          </a:endParaRPr>
        </a:p>
      </dsp:txBody>
      <dsp:txXfrm>
        <a:off x="102118" y="3515132"/>
        <a:ext cx="2745927" cy="1765688"/>
      </dsp:txXfrm>
    </dsp:sp>
    <dsp:sp modelId="{2ED78204-93EC-064C-823A-1586CD82394C}">
      <dsp:nvSpPr>
        <dsp:cNvPr id="0" name=""/>
        <dsp:cNvSpPr/>
      </dsp:nvSpPr>
      <dsp:spPr>
        <a:xfrm>
          <a:off x="740840" y="5879635"/>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Wording / messaging</a:t>
          </a:r>
          <a:endParaRPr lang="en-US" sz="2000" b="1" kern="1200" dirty="0">
            <a:effectLst>
              <a:outerShdw blurRad="50800" dist="38100" dir="2700000" algn="tl" rotWithShape="0">
                <a:prstClr val="black">
                  <a:alpha val="40000"/>
                </a:prstClr>
              </a:outerShdw>
            </a:effectLst>
          </a:endParaRPr>
        </a:p>
      </dsp:txBody>
      <dsp:txXfrm>
        <a:off x="836360" y="5975155"/>
        <a:ext cx="2205604" cy="1765688"/>
      </dsp:txXfrm>
    </dsp:sp>
    <dsp:sp modelId="{3B98D480-5A9A-0A4D-8BDC-FE216FA48EE4}">
      <dsp:nvSpPr>
        <dsp:cNvPr id="0" name=""/>
        <dsp:cNvSpPr/>
      </dsp:nvSpPr>
      <dsp:spPr>
        <a:xfrm>
          <a:off x="740840" y="8339659"/>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Location / size</a:t>
          </a:r>
          <a:endParaRPr lang="en-US" sz="2000" b="1" kern="1200" dirty="0">
            <a:effectLst>
              <a:outerShdw blurRad="50800" dist="38100" dir="2700000" algn="tl" rotWithShape="0">
                <a:prstClr val="black">
                  <a:alpha val="40000"/>
                </a:prstClr>
              </a:outerShdw>
            </a:effectLst>
          </a:endParaRPr>
        </a:p>
      </dsp:txBody>
      <dsp:txXfrm>
        <a:off x="836360" y="8435179"/>
        <a:ext cx="2205604" cy="1765688"/>
      </dsp:txXfrm>
    </dsp:sp>
    <dsp:sp modelId="{2C0E0A56-4821-5340-9545-5653DBEF3E82}">
      <dsp:nvSpPr>
        <dsp:cNvPr id="0" name=""/>
        <dsp:cNvSpPr/>
      </dsp:nvSpPr>
      <dsp:spPr>
        <a:xfrm>
          <a:off x="740840" y="10799682"/>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Design / color / iconography</a:t>
          </a:r>
          <a:endParaRPr lang="en-US" sz="2000" b="1" kern="1200" dirty="0">
            <a:effectLst>
              <a:outerShdw blurRad="50800" dist="38100" dir="2700000" algn="tl" rotWithShape="0">
                <a:prstClr val="black">
                  <a:alpha val="40000"/>
                </a:prstClr>
              </a:outerShdw>
            </a:effectLst>
          </a:endParaRPr>
        </a:p>
      </dsp:txBody>
      <dsp:txXfrm>
        <a:off x="836360" y="10895202"/>
        <a:ext cx="2205604" cy="1765688"/>
      </dsp:txXfrm>
    </dsp:sp>
    <dsp:sp modelId="{6A1B3FF2-4302-AB42-9144-D0C7AF33189D}">
      <dsp:nvSpPr>
        <dsp:cNvPr id="0" name=""/>
        <dsp:cNvSpPr/>
      </dsp:nvSpPr>
      <dsp:spPr>
        <a:xfrm>
          <a:off x="3446861" y="3419612"/>
          <a:ext cx="2936967" cy="1956728"/>
        </a:xfrm>
        <a:prstGeom prst="roundRect">
          <a:avLst/>
        </a:prstGeom>
        <a:solidFill>
          <a:schemeClr val="accent1">
            <a:hueOff val="0"/>
            <a:satOff val="0"/>
            <a:lumOff val="0"/>
            <a:alphaOff val="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Minimize Distractions</a:t>
          </a:r>
          <a:endParaRPr lang="en-US" sz="2000" b="1" kern="1200" dirty="0">
            <a:effectLst>
              <a:outerShdw blurRad="50800" dist="38100" dir="2700000" algn="tl" rotWithShape="0">
                <a:prstClr val="black">
                  <a:alpha val="40000"/>
                </a:prstClr>
              </a:outerShdw>
            </a:effectLst>
          </a:endParaRPr>
        </a:p>
      </dsp:txBody>
      <dsp:txXfrm>
        <a:off x="3542381" y="3515132"/>
        <a:ext cx="2745927" cy="1765688"/>
      </dsp:txXfrm>
    </dsp:sp>
    <dsp:sp modelId="{22959F47-69F7-D445-9334-5C7C176A2653}">
      <dsp:nvSpPr>
        <dsp:cNvPr id="0" name=""/>
        <dsp:cNvSpPr/>
      </dsp:nvSpPr>
      <dsp:spPr>
        <a:xfrm>
          <a:off x="4181103" y="5879635"/>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Establish a visual hierarchy</a:t>
          </a:r>
          <a:endParaRPr lang="en-US" sz="2000" b="1" kern="1200" dirty="0">
            <a:effectLst>
              <a:outerShdw blurRad="50800" dist="38100" dir="2700000" algn="tl" rotWithShape="0">
                <a:prstClr val="black">
                  <a:alpha val="40000"/>
                </a:prstClr>
              </a:outerShdw>
            </a:effectLst>
          </a:endParaRPr>
        </a:p>
      </dsp:txBody>
      <dsp:txXfrm>
        <a:off x="4276623" y="5975155"/>
        <a:ext cx="2205604" cy="1765688"/>
      </dsp:txXfrm>
    </dsp:sp>
    <dsp:sp modelId="{35471471-CB84-0746-BDD4-1655B6C5471A}">
      <dsp:nvSpPr>
        <dsp:cNvPr id="0" name=""/>
        <dsp:cNvSpPr/>
      </dsp:nvSpPr>
      <dsp:spPr>
        <a:xfrm>
          <a:off x="4181103" y="8339659"/>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Remove non-critical content</a:t>
          </a:r>
          <a:endParaRPr lang="en-US" sz="2000" b="1" kern="1200" dirty="0">
            <a:effectLst>
              <a:outerShdw blurRad="50800" dist="38100" dir="2700000" algn="tl" rotWithShape="0">
                <a:prstClr val="black">
                  <a:alpha val="40000"/>
                </a:prstClr>
              </a:outerShdw>
            </a:effectLst>
          </a:endParaRPr>
        </a:p>
      </dsp:txBody>
      <dsp:txXfrm>
        <a:off x="4276623" y="8435179"/>
        <a:ext cx="2205604" cy="1765688"/>
      </dsp:txXfrm>
    </dsp:sp>
    <dsp:sp modelId="{9276651D-6194-EA49-8E09-02C1BFFFA9D5}">
      <dsp:nvSpPr>
        <dsp:cNvPr id="0" name=""/>
        <dsp:cNvSpPr/>
      </dsp:nvSpPr>
      <dsp:spPr>
        <a:xfrm>
          <a:off x="4181103" y="10799682"/>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Limit number of choices</a:t>
          </a:r>
          <a:endParaRPr lang="en-US" sz="2000" b="1" kern="1200" dirty="0">
            <a:effectLst>
              <a:outerShdw blurRad="50800" dist="38100" dir="2700000" algn="tl" rotWithShape="0">
                <a:prstClr val="black">
                  <a:alpha val="40000"/>
                </a:prstClr>
              </a:outerShdw>
            </a:effectLst>
          </a:endParaRPr>
        </a:p>
      </dsp:txBody>
      <dsp:txXfrm>
        <a:off x="4276623" y="10895202"/>
        <a:ext cx="2205604" cy="1765688"/>
      </dsp:txXfrm>
    </dsp:sp>
    <dsp:sp modelId="{C98D4C05-6DFD-F848-8831-CA53C562EFA9}">
      <dsp:nvSpPr>
        <dsp:cNvPr id="0" name=""/>
        <dsp:cNvSpPr/>
      </dsp:nvSpPr>
      <dsp:spPr>
        <a:xfrm>
          <a:off x="6887124" y="3419612"/>
          <a:ext cx="2936967" cy="1956728"/>
        </a:xfrm>
        <a:prstGeom prst="roundRect">
          <a:avLst/>
        </a:prstGeom>
        <a:solidFill>
          <a:schemeClr val="accent1">
            <a:hueOff val="0"/>
            <a:satOff val="0"/>
            <a:lumOff val="0"/>
            <a:alphaOff val="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Communicate Unique Selling Points</a:t>
          </a:r>
          <a:endParaRPr lang="en-US" sz="2000" b="1" kern="1200" dirty="0">
            <a:effectLst>
              <a:outerShdw blurRad="50800" dist="38100" dir="2700000" algn="tl" rotWithShape="0">
                <a:prstClr val="black">
                  <a:alpha val="40000"/>
                </a:prstClr>
              </a:outerShdw>
            </a:effectLst>
          </a:endParaRPr>
        </a:p>
      </dsp:txBody>
      <dsp:txXfrm>
        <a:off x="6982644" y="3515132"/>
        <a:ext cx="2745927" cy="1765688"/>
      </dsp:txXfrm>
    </dsp:sp>
    <dsp:sp modelId="{7AAAE15D-9C55-1D43-B8B7-B04F0D48EABD}">
      <dsp:nvSpPr>
        <dsp:cNvPr id="0" name=""/>
        <dsp:cNvSpPr/>
      </dsp:nvSpPr>
      <dsp:spPr>
        <a:xfrm>
          <a:off x="7621366" y="5879635"/>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smtClean="0">
              <a:effectLst>
                <a:outerShdw blurRad="50800" dist="38100" dir="2700000" algn="tl" rotWithShape="0">
                  <a:prstClr val="black">
                    <a:alpha val="40000"/>
                  </a:prstClr>
                </a:outerShdw>
              </a:effectLst>
            </a:rPr>
            <a:t>Select/target the right USP’s</a:t>
          </a:r>
          <a:endParaRPr lang="en-US" sz="2000" b="1" kern="1200" dirty="0">
            <a:effectLst>
              <a:outerShdw blurRad="50800" dist="38100" dir="2700000" algn="tl" rotWithShape="0">
                <a:prstClr val="black">
                  <a:alpha val="40000"/>
                </a:prstClr>
              </a:outerShdw>
            </a:effectLst>
          </a:endParaRPr>
        </a:p>
      </dsp:txBody>
      <dsp:txXfrm>
        <a:off x="7716886" y="5975155"/>
        <a:ext cx="2205604" cy="1765688"/>
      </dsp:txXfrm>
    </dsp:sp>
    <dsp:sp modelId="{7C50BECD-9391-C544-9079-7DCA06B1B106}">
      <dsp:nvSpPr>
        <dsp:cNvPr id="0" name=""/>
        <dsp:cNvSpPr/>
      </dsp:nvSpPr>
      <dsp:spPr>
        <a:xfrm>
          <a:off x="7621366" y="8339659"/>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Refine the messaging</a:t>
          </a:r>
          <a:endParaRPr lang="en-US" sz="2000" b="1" kern="1200" dirty="0">
            <a:effectLst>
              <a:outerShdw blurRad="50800" dist="38100" dir="2700000" algn="tl" rotWithShape="0">
                <a:prstClr val="black">
                  <a:alpha val="40000"/>
                </a:prstClr>
              </a:outerShdw>
            </a:effectLst>
          </a:endParaRPr>
        </a:p>
      </dsp:txBody>
      <dsp:txXfrm>
        <a:off x="7716886" y="8435179"/>
        <a:ext cx="2205604" cy="1765688"/>
      </dsp:txXfrm>
    </dsp:sp>
    <dsp:sp modelId="{C8DB6E88-65AB-3947-BF5E-D30F973C203C}">
      <dsp:nvSpPr>
        <dsp:cNvPr id="0" name=""/>
        <dsp:cNvSpPr/>
      </dsp:nvSpPr>
      <dsp:spPr>
        <a:xfrm>
          <a:off x="7621366" y="10799682"/>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Communicate visually</a:t>
          </a:r>
          <a:endParaRPr lang="en-US" sz="2000" b="1" kern="1200" dirty="0">
            <a:effectLst>
              <a:outerShdw blurRad="50800" dist="38100" dir="2700000" algn="tl" rotWithShape="0">
                <a:prstClr val="black">
                  <a:alpha val="40000"/>
                </a:prstClr>
              </a:outerShdw>
            </a:effectLst>
          </a:endParaRPr>
        </a:p>
      </dsp:txBody>
      <dsp:txXfrm>
        <a:off x="7716886" y="10895202"/>
        <a:ext cx="2205604" cy="1765688"/>
      </dsp:txXfrm>
    </dsp:sp>
    <dsp:sp modelId="{F63DB975-E825-ED40-9ED5-8EF8047133DC}">
      <dsp:nvSpPr>
        <dsp:cNvPr id="0" name=""/>
        <dsp:cNvSpPr/>
      </dsp:nvSpPr>
      <dsp:spPr>
        <a:xfrm>
          <a:off x="10327387" y="3419612"/>
          <a:ext cx="2936967" cy="1956728"/>
        </a:xfrm>
        <a:prstGeom prst="roundRect">
          <a:avLst/>
        </a:prstGeom>
        <a:solidFill>
          <a:schemeClr val="accent1">
            <a:hueOff val="0"/>
            <a:satOff val="0"/>
            <a:lumOff val="0"/>
            <a:alphaOff val="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Design Intuitive Navigation</a:t>
          </a:r>
          <a:endParaRPr lang="en-US" sz="2000" b="1" kern="1200" dirty="0">
            <a:effectLst>
              <a:outerShdw blurRad="50800" dist="38100" dir="2700000" algn="tl" rotWithShape="0">
                <a:prstClr val="black">
                  <a:alpha val="40000"/>
                </a:prstClr>
              </a:outerShdw>
            </a:effectLst>
          </a:endParaRPr>
        </a:p>
      </dsp:txBody>
      <dsp:txXfrm>
        <a:off x="10422907" y="3515132"/>
        <a:ext cx="2745927" cy="1765688"/>
      </dsp:txXfrm>
    </dsp:sp>
    <dsp:sp modelId="{BD45870A-B3FE-4649-A1E8-44ABA898ACEB}">
      <dsp:nvSpPr>
        <dsp:cNvPr id="0" name=""/>
        <dsp:cNvSpPr/>
      </dsp:nvSpPr>
      <dsp:spPr>
        <a:xfrm>
          <a:off x="11061629" y="5879635"/>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smtClean="0">
              <a:effectLst>
                <a:outerShdw blurRad="50800" dist="38100" dir="2700000" algn="tl" rotWithShape="0">
                  <a:prstClr val="black">
                    <a:alpha val="40000"/>
                  </a:prstClr>
                </a:outerShdw>
              </a:effectLst>
            </a:rPr>
            <a:t>Use a clear, consistent layout</a:t>
          </a:r>
          <a:endParaRPr lang="en-US" sz="2000" b="1" kern="1200" dirty="0">
            <a:effectLst>
              <a:outerShdw blurRad="50800" dist="38100" dir="2700000" algn="tl" rotWithShape="0">
                <a:prstClr val="black">
                  <a:alpha val="40000"/>
                </a:prstClr>
              </a:outerShdw>
            </a:effectLst>
          </a:endParaRPr>
        </a:p>
      </dsp:txBody>
      <dsp:txXfrm>
        <a:off x="11157149" y="5975155"/>
        <a:ext cx="2205604" cy="1765688"/>
      </dsp:txXfrm>
    </dsp:sp>
    <dsp:sp modelId="{667C8B84-66F0-D04D-AF88-0F329C747158}">
      <dsp:nvSpPr>
        <dsp:cNvPr id="0" name=""/>
        <dsp:cNvSpPr/>
      </dsp:nvSpPr>
      <dsp:spPr>
        <a:xfrm>
          <a:off x="11061629" y="8339659"/>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Structure, naming, and order of sections</a:t>
          </a:r>
          <a:endParaRPr lang="en-US" sz="2000" b="1" kern="1200" dirty="0">
            <a:effectLst>
              <a:outerShdw blurRad="50800" dist="38100" dir="2700000" algn="tl" rotWithShape="0">
                <a:prstClr val="black">
                  <a:alpha val="40000"/>
                </a:prstClr>
              </a:outerShdw>
            </a:effectLst>
          </a:endParaRPr>
        </a:p>
      </dsp:txBody>
      <dsp:txXfrm>
        <a:off x="11157149" y="8435179"/>
        <a:ext cx="2205604" cy="1765688"/>
      </dsp:txXfrm>
    </dsp:sp>
    <dsp:sp modelId="{0B86221D-B7E4-B74C-ACB9-8C43A9AE47F7}">
      <dsp:nvSpPr>
        <dsp:cNvPr id="0" name=""/>
        <dsp:cNvSpPr/>
      </dsp:nvSpPr>
      <dsp:spPr>
        <a:xfrm>
          <a:off x="11061629" y="10799682"/>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Use iconography</a:t>
          </a:r>
          <a:endParaRPr lang="en-US" sz="2000" b="1" kern="1200" dirty="0">
            <a:effectLst>
              <a:outerShdw blurRad="50800" dist="38100" dir="2700000" algn="tl" rotWithShape="0">
                <a:prstClr val="black">
                  <a:alpha val="40000"/>
                </a:prstClr>
              </a:outerShdw>
            </a:effectLst>
          </a:endParaRPr>
        </a:p>
      </dsp:txBody>
      <dsp:txXfrm>
        <a:off x="11157149" y="10895202"/>
        <a:ext cx="2205604" cy="1765688"/>
      </dsp:txXfrm>
    </dsp:sp>
    <dsp:sp modelId="{572E3CDC-5D66-514E-8912-D04551846EC7}">
      <dsp:nvSpPr>
        <dsp:cNvPr id="0" name=""/>
        <dsp:cNvSpPr/>
      </dsp:nvSpPr>
      <dsp:spPr>
        <a:xfrm>
          <a:off x="13767650" y="3419612"/>
          <a:ext cx="2936967" cy="1956728"/>
        </a:xfrm>
        <a:prstGeom prst="roundRect">
          <a:avLst/>
        </a:prstGeom>
        <a:solidFill>
          <a:schemeClr val="accent1">
            <a:hueOff val="0"/>
            <a:satOff val="0"/>
            <a:lumOff val="0"/>
            <a:alphaOff val="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Market Products Effectively</a:t>
          </a:r>
          <a:endParaRPr lang="en-US" sz="2000" b="1" kern="1200" dirty="0">
            <a:effectLst>
              <a:outerShdw blurRad="50800" dist="38100" dir="2700000" algn="tl" rotWithShape="0">
                <a:prstClr val="black">
                  <a:alpha val="40000"/>
                </a:prstClr>
              </a:outerShdw>
            </a:effectLst>
          </a:endParaRPr>
        </a:p>
      </dsp:txBody>
      <dsp:txXfrm>
        <a:off x="13863170" y="3515132"/>
        <a:ext cx="2745927" cy="1765688"/>
      </dsp:txXfrm>
    </dsp:sp>
    <dsp:sp modelId="{312925C6-1321-8C4D-8ECE-565EBD85AA53}">
      <dsp:nvSpPr>
        <dsp:cNvPr id="0" name=""/>
        <dsp:cNvSpPr/>
      </dsp:nvSpPr>
      <dsp:spPr>
        <a:xfrm>
          <a:off x="14501892" y="5879635"/>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Test ideal product visuals</a:t>
          </a:r>
          <a:endParaRPr lang="en-US" sz="2000" b="1" kern="1200" dirty="0">
            <a:effectLst>
              <a:outerShdw blurRad="50800" dist="38100" dir="2700000" algn="tl" rotWithShape="0">
                <a:prstClr val="black">
                  <a:alpha val="40000"/>
                </a:prstClr>
              </a:outerShdw>
            </a:effectLst>
          </a:endParaRPr>
        </a:p>
      </dsp:txBody>
      <dsp:txXfrm>
        <a:off x="14597412" y="5975155"/>
        <a:ext cx="2205604" cy="1765688"/>
      </dsp:txXfrm>
    </dsp:sp>
    <dsp:sp modelId="{96DE10DD-2A27-1E4E-A6B9-8640BCC5A191}">
      <dsp:nvSpPr>
        <dsp:cNvPr id="0" name=""/>
        <dsp:cNvSpPr/>
      </dsp:nvSpPr>
      <dsp:spPr>
        <a:xfrm>
          <a:off x="14501892" y="8339659"/>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Use the right review systems</a:t>
          </a:r>
          <a:endParaRPr lang="en-US" sz="2000" b="1" kern="1200" dirty="0">
            <a:effectLst>
              <a:outerShdw blurRad="50800" dist="38100" dir="2700000" algn="tl" rotWithShape="0">
                <a:prstClr val="black">
                  <a:alpha val="40000"/>
                </a:prstClr>
              </a:outerShdw>
            </a:effectLst>
          </a:endParaRPr>
        </a:p>
      </dsp:txBody>
      <dsp:txXfrm>
        <a:off x="14597412" y="8435179"/>
        <a:ext cx="2205604" cy="1765688"/>
      </dsp:txXfrm>
    </dsp:sp>
    <dsp:sp modelId="{210923D2-AC03-0946-B698-462DDD0B6542}">
      <dsp:nvSpPr>
        <dsp:cNvPr id="0" name=""/>
        <dsp:cNvSpPr/>
      </dsp:nvSpPr>
      <dsp:spPr>
        <a:xfrm>
          <a:off x="14501892" y="10799682"/>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Find ideal description text / length</a:t>
          </a:r>
          <a:endParaRPr lang="en-US" sz="2000" b="1" kern="1200" dirty="0">
            <a:effectLst>
              <a:outerShdw blurRad="50800" dist="38100" dir="2700000" algn="tl" rotWithShape="0">
                <a:prstClr val="black">
                  <a:alpha val="40000"/>
                </a:prstClr>
              </a:outerShdw>
            </a:effectLst>
          </a:endParaRPr>
        </a:p>
      </dsp:txBody>
      <dsp:txXfrm>
        <a:off x="14597412" y="10895202"/>
        <a:ext cx="2205604" cy="1765688"/>
      </dsp:txXfrm>
    </dsp:sp>
    <dsp:sp modelId="{0FE69002-AB56-3740-A6BE-C29542137A47}">
      <dsp:nvSpPr>
        <dsp:cNvPr id="0" name=""/>
        <dsp:cNvSpPr/>
      </dsp:nvSpPr>
      <dsp:spPr>
        <a:xfrm>
          <a:off x="17207914" y="3419612"/>
          <a:ext cx="2936967" cy="1956728"/>
        </a:xfrm>
        <a:prstGeom prst="roundRect">
          <a:avLst/>
        </a:prstGeom>
        <a:solidFill>
          <a:schemeClr val="accent1">
            <a:hueOff val="0"/>
            <a:satOff val="0"/>
            <a:lumOff val="0"/>
            <a:alphaOff val="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Build a Sense of Urgency</a:t>
          </a:r>
          <a:endParaRPr lang="en-US" sz="2000" b="1" kern="1200" dirty="0">
            <a:effectLst>
              <a:outerShdw blurRad="50800" dist="38100" dir="2700000" algn="tl" rotWithShape="0">
                <a:prstClr val="black">
                  <a:alpha val="40000"/>
                </a:prstClr>
              </a:outerShdw>
            </a:effectLst>
          </a:endParaRPr>
        </a:p>
      </dsp:txBody>
      <dsp:txXfrm>
        <a:off x="17303434" y="3515132"/>
        <a:ext cx="2745927" cy="1765688"/>
      </dsp:txXfrm>
    </dsp:sp>
    <dsp:sp modelId="{3F382FC2-12CB-D943-89ED-75CADBE6B2B9}">
      <dsp:nvSpPr>
        <dsp:cNvPr id="0" name=""/>
        <dsp:cNvSpPr/>
      </dsp:nvSpPr>
      <dsp:spPr>
        <a:xfrm>
          <a:off x="17942155" y="5879635"/>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Show quantity left</a:t>
          </a:r>
          <a:endParaRPr lang="en-US" sz="2000" b="1" kern="1200" dirty="0">
            <a:effectLst>
              <a:outerShdw blurRad="50800" dist="38100" dir="2700000" algn="tl" rotWithShape="0">
                <a:prstClr val="black">
                  <a:alpha val="40000"/>
                </a:prstClr>
              </a:outerShdw>
            </a:effectLst>
          </a:endParaRPr>
        </a:p>
      </dsp:txBody>
      <dsp:txXfrm>
        <a:off x="18037675" y="5975155"/>
        <a:ext cx="2205604" cy="1765688"/>
      </dsp:txXfrm>
    </dsp:sp>
    <dsp:sp modelId="{EA99EEAC-15F9-BB4A-A17F-8DF66EAF1CDC}">
      <dsp:nvSpPr>
        <dsp:cNvPr id="0" name=""/>
        <dsp:cNvSpPr/>
      </dsp:nvSpPr>
      <dsp:spPr>
        <a:xfrm>
          <a:off x="17942155" y="8339659"/>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Push temporary offers</a:t>
          </a:r>
          <a:endParaRPr lang="en-US" sz="2000" b="1" kern="1200" dirty="0">
            <a:effectLst>
              <a:outerShdw blurRad="50800" dist="38100" dir="2700000" algn="tl" rotWithShape="0">
                <a:prstClr val="black">
                  <a:alpha val="40000"/>
                </a:prstClr>
              </a:outerShdw>
            </a:effectLst>
          </a:endParaRPr>
        </a:p>
      </dsp:txBody>
      <dsp:txXfrm>
        <a:off x="18037675" y="8435179"/>
        <a:ext cx="2205604" cy="1765688"/>
      </dsp:txXfrm>
    </dsp:sp>
    <dsp:sp modelId="{72D53164-9DF1-584A-A8A9-A81741EC7864}">
      <dsp:nvSpPr>
        <dsp:cNvPr id="0" name=""/>
        <dsp:cNvSpPr/>
      </dsp:nvSpPr>
      <dsp:spPr>
        <a:xfrm>
          <a:off x="17942155" y="10799682"/>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Promote buying before set times</a:t>
          </a:r>
          <a:endParaRPr lang="en-US" sz="2000" b="1" kern="1200" dirty="0">
            <a:effectLst>
              <a:outerShdw blurRad="50800" dist="38100" dir="2700000" algn="tl" rotWithShape="0">
                <a:prstClr val="black">
                  <a:alpha val="40000"/>
                </a:prstClr>
              </a:outerShdw>
            </a:effectLst>
          </a:endParaRPr>
        </a:p>
      </dsp:txBody>
      <dsp:txXfrm>
        <a:off x="18037675" y="10895202"/>
        <a:ext cx="2205604" cy="176568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101F31-B493-FC4F-BA98-4DA93A046699}">
      <dsp:nvSpPr>
        <dsp:cNvPr id="0" name=""/>
        <dsp:cNvSpPr/>
      </dsp:nvSpPr>
      <dsp:spPr>
        <a:xfrm>
          <a:off x="17438698" y="5385723"/>
          <a:ext cx="503457" cy="6392323"/>
        </a:xfrm>
        <a:custGeom>
          <a:avLst/>
          <a:gdLst/>
          <a:ahLst/>
          <a:cxnLst/>
          <a:rect l="0" t="0" r="0" b="0"/>
          <a:pathLst>
            <a:path>
              <a:moveTo>
                <a:pt x="0" y="0"/>
              </a:moveTo>
              <a:lnTo>
                <a:pt x="0" y="6392323"/>
              </a:lnTo>
              <a:lnTo>
                <a:pt x="503457" y="639232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E80B93D-D000-8B4B-8100-E0B67DB0E877}">
      <dsp:nvSpPr>
        <dsp:cNvPr id="0" name=""/>
        <dsp:cNvSpPr/>
      </dsp:nvSpPr>
      <dsp:spPr>
        <a:xfrm>
          <a:off x="17438698" y="5385723"/>
          <a:ext cx="503457" cy="3932300"/>
        </a:xfrm>
        <a:custGeom>
          <a:avLst/>
          <a:gdLst/>
          <a:ahLst/>
          <a:cxnLst/>
          <a:rect l="0" t="0" r="0" b="0"/>
          <a:pathLst>
            <a:path>
              <a:moveTo>
                <a:pt x="0" y="0"/>
              </a:moveTo>
              <a:lnTo>
                <a:pt x="0" y="3932300"/>
              </a:lnTo>
              <a:lnTo>
                <a:pt x="503457" y="393230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8EACF5C-66CA-3E4D-8C5C-FF5941FDB285}">
      <dsp:nvSpPr>
        <dsp:cNvPr id="0" name=""/>
        <dsp:cNvSpPr/>
      </dsp:nvSpPr>
      <dsp:spPr>
        <a:xfrm>
          <a:off x="17438698" y="5385723"/>
          <a:ext cx="503457" cy="1472276"/>
        </a:xfrm>
        <a:custGeom>
          <a:avLst/>
          <a:gdLst/>
          <a:ahLst/>
          <a:cxnLst/>
          <a:rect l="0" t="0" r="0" b="0"/>
          <a:pathLst>
            <a:path>
              <a:moveTo>
                <a:pt x="0" y="0"/>
              </a:moveTo>
              <a:lnTo>
                <a:pt x="0" y="1472276"/>
              </a:lnTo>
              <a:lnTo>
                <a:pt x="503457" y="147227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D0BC2B8-08A5-504D-8B97-A8DFE6F2353D}">
      <dsp:nvSpPr>
        <dsp:cNvPr id="0" name=""/>
        <dsp:cNvSpPr/>
      </dsp:nvSpPr>
      <dsp:spPr>
        <a:xfrm>
          <a:off x="10075740" y="2916317"/>
          <a:ext cx="8537745" cy="512678"/>
        </a:xfrm>
        <a:custGeom>
          <a:avLst/>
          <a:gdLst/>
          <a:ahLst/>
          <a:cxnLst/>
          <a:rect l="0" t="0" r="0" b="0"/>
          <a:pathLst>
            <a:path>
              <a:moveTo>
                <a:pt x="0" y="0"/>
              </a:moveTo>
              <a:lnTo>
                <a:pt x="0" y="261030"/>
              </a:lnTo>
              <a:lnTo>
                <a:pt x="8537745" y="261030"/>
              </a:lnTo>
              <a:lnTo>
                <a:pt x="8537745" y="51267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5969C0C-C4EF-8044-B112-A2052B5FA261}">
      <dsp:nvSpPr>
        <dsp:cNvPr id="0" name=""/>
        <dsp:cNvSpPr/>
      </dsp:nvSpPr>
      <dsp:spPr>
        <a:xfrm>
          <a:off x="14061347" y="5376340"/>
          <a:ext cx="440545" cy="6401706"/>
        </a:xfrm>
        <a:custGeom>
          <a:avLst/>
          <a:gdLst/>
          <a:ahLst/>
          <a:cxnLst/>
          <a:rect l="0" t="0" r="0" b="0"/>
          <a:pathLst>
            <a:path>
              <a:moveTo>
                <a:pt x="0" y="0"/>
              </a:moveTo>
              <a:lnTo>
                <a:pt x="0" y="6401706"/>
              </a:lnTo>
              <a:lnTo>
                <a:pt x="440545" y="64017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440B106-7C72-9547-AE5A-A590A6A7292B}">
      <dsp:nvSpPr>
        <dsp:cNvPr id="0" name=""/>
        <dsp:cNvSpPr/>
      </dsp:nvSpPr>
      <dsp:spPr>
        <a:xfrm>
          <a:off x="14061347" y="5376340"/>
          <a:ext cx="440545" cy="3941682"/>
        </a:xfrm>
        <a:custGeom>
          <a:avLst/>
          <a:gdLst/>
          <a:ahLst/>
          <a:cxnLst/>
          <a:rect l="0" t="0" r="0" b="0"/>
          <a:pathLst>
            <a:path>
              <a:moveTo>
                <a:pt x="0" y="0"/>
              </a:moveTo>
              <a:lnTo>
                <a:pt x="0" y="3941682"/>
              </a:lnTo>
              <a:lnTo>
                <a:pt x="440545" y="394168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4F6E45F-C07E-304C-AB67-8E8552A42778}">
      <dsp:nvSpPr>
        <dsp:cNvPr id="0" name=""/>
        <dsp:cNvSpPr/>
      </dsp:nvSpPr>
      <dsp:spPr>
        <a:xfrm>
          <a:off x="14061347" y="5376340"/>
          <a:ext cx="440545" cy="1481659"/>
        </a:xfrm>
        <a:custGeom>
          <a:avLst/>
          <a:gdLst/>
          <a:ahLst/>
          <a:cxnLst/>
          <a:rect l="0" t="0" r="0" b="0"/>
          <a:pathLst>
            <a:path>
              <a:moveTo>
                <a:pt x="0" y="0"/>
              </a:moveTo>
              <a:lnTo>
                <a:pt x="0" y="1481659"/>
              </a:lnTo>
              <a:lnTo>
                <a:pt x="440545" y="148165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480E8B4-F1B6-8246-9806-7D2D0CB68815}">
      <dsp:nvSpPr>
        <dsp:cNvPr id="0" name=""/>
        <dsp:cNvSpPr/>
      </dsp:nvSpPr>
      <dsp:spPr>
        <a:xfrm>
          <a:off x="10075740" y="2916317"/>
          <a:ext cx="5160394" cy="503295"/>
        </a:xfrm>
        <a:custGeom>
          <a:avLst/>
          <a:gdLst/>
          <a:ahLst/>
          <a:cxnLst/>
          <a:rect l="0" t="0" r="0" b="0"/>
          <a:pathLst>
            <a:path>
              <a:moveTo>
                <a:pt x="0" y="0"/>
              </a:moveTo>
              <a:lnTo>
                <a:pt x="0" y="251647"/>
              </a:lnTo>
              <a:lnTo>
                <a:pt x="5160394" y="251647"/>
              </a:lnTo>
              <a:lnTo>
                <a:pt x="5160394" y="50329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BF62F60-4DCC-6C46-AE65-EDFFE870F1F4}">
      <dsp:nvSpPr>
        <dsp:cNvPr id="0" name=""/>
        <dsp:cNvSpPr/>
      </dsp:nvSpPr>
      <dsp:spPr>
        <a:xfrm>
          <a:off x="10621084" y="5376340"/>
          <a:ext cx="440545" cy="6401706"/>
        </a:xfrm>
        <a:custGeom>
          <a:avLst/>
          <a:gdLst/>
          <a:ahLst/>
          <a:cxnLst/>
          <a:rect l="0" t="0" r="0" b="0"/>
          <a:pathLst>
            <a:path>
              <a:moveTo>
                <a:pt x="0" y="0"/>
              </a:moveTo>
              <a:lnTo>
                <a:pt x="0" y="6401706"/>
              </a:lnTo>
              <a:lnTo>
                <a:pt x="440545" y="64017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C9BEE53-E580-D245-BCCD-590C85D76065}">
      <dsp:nvSpPr>
        <dsp:cNvPr id="0" name=""/>
        <dsp:cNvSpPr/>
      </dsp:nvSpPr>
      <dsp:spPr>
        <a:xfrm>
          <a:off x="10621084" y="5376340"/>
          <a:ext cx="440545" cy="3941682"/>
        </a:xfrm>
        <a:custGeom>
          <a:avLst/>
          <a:gdLst/>
          <a:ahLst/>
          <a:cxnLst/>
          <a:rect l="0" t="0" r="0" b="0"/>
          <a:pathLst>
            <a:path>
              <a:moveTo>
                <a:pt x="0" y="0"/>
              </a:moveTo>
              <a:lnTo>
                <a:pt x="0" y="3941682"/>
              </a:lnTo>
              <a:lnTo>
                <a:pt x="440545" y="394168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B5B0F12-5DDA-9943-9092-2A10F2FE9601}">
      <dsp:nvSpPr>
        <dsp:cNvPr id="0" name=""/>
        <dsp:cNvSpPr/>
      </dsp:nvSpPr>
      <dsp:spPr>
        <a:xfrm>
          <a:off x="10621084" y="5376340"/>
          <a:ext cx="440545" cy="1481659"/>
        </a:xfrm>
        <a:custGeom>
          <a:avLst/>
          <a:gdLst/>
          <a:ahLst/>
          <a:cxnLst/>
          <a:rect l="0" t="0" r="0" b="0"/>
          <a:pathLst>
            <a:path>
              <a:moveTo>
                <a:pt x="0" y="0"/>
              </a:moveTo>
              <a:lnTo>
                <a:pt x="0" y="1481659"/>
              </a:lnTo>
              <a:lnTo>
                <a:pt x="440545" y="148165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23D0151-0AF0-7A44-BCE6-C10462839127}">
      <dsp:nvSpPr>
        <dsp:cNvPr id="0" name=""/>
        <dsp:cNvSpPr/>
      </dsp:nvSpPr>
      <dsp:spPr>
        <a:xfrm>
          <a:off x="10075740" y="2916317"/>
          <a:ext cx="1720131" cy="503295"/>
        </a:xfrm>
        <a:custGeom>
          <a:avLst/>
          <a:gdLst/>
          <a:ahLst/>
          <a:cxnLst/>
          <a:rect l="0" t="0" r="0" b="0"/>
          <a:pathLst>
            <a:path>
              <a:moveTo>
                <a:pt x="0" y="0"/>
              </a:moveTo>
              <a:lnTo>
                <a:pt x="0" y="251647"/>
              </a:lnTo>
              <a:lnTo>
                <a:pt x="1720131" y="251647"/>
              </a:lnTo>
              <a:lnTo>
                <a:pt x="1720131" y="50329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030E2EE-B0D1-364F-B6DF-876E246B6AE1}">
      <dsp:nvSpPr>
        <dsp:cNvPr id="0" name=""/>
        <dsp:cNvSpPr/>
      </dsp:nvSpPr>
      <dsp:spPr>
        <a:xfrm>
          <a:off x="7180821" y="5376340"/>
          <a:ext cx="440545" cy="6401706"/>
        </a:xfrm>
        <a:custGeom>
          <a:avLst/>
          <a:gdLst/>
          <a:ahLst/>
          <a:cxnLst/>
          <a:rect l="0" t="0" r="0" b="0"/>
          <a:pathLst>
            <a:path>
              <a:moveTo>
                <a:pt x="0" y="0"/>
              </a:moveTo>
              <a:lnTo>
                <a:pt x="0" y="6401706"/>
              </a:lnTo>
              <a:lnTo>
                <a:pt x="440545" y="64017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29F0079-A483-7E48-A321-97C36DBA0475}">
      <dsp:nvSpPr>
        <dsp:cNvPr id="0" name=""/>
        <dsp:cNvSpPr/>
      </dsp:nvSpPr>
      <dsp:spPr>
        <a:xfrm>
          <a:off x="7180821" y="5376340"/>
          <a:ext cx="440545" cy="3941682"/>
        </a:xfrm>
        <a:custGeom>
          <a:avLst/>
          <a:gdLst/>
          <a:ahLst/>
          <a:cxnLst/>
          <a:rect l="0" t="0" r="0" b="0"/>
          <a:pathLst>
            <a:path>
              <a:moveTo>
                <a:pt x="0" y="0"/>
              </a:moveTo>
              <a:lnTo>
                <a:pt x="0" y="3941682"/>
              </a:lnTo>
              <a:lnTo>
                <a:pt x="440545" y="394168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62CB30F-6901-594F-8775-B46F34227BC9}">
      <dsp:nvSpPr>
        <dsp:cNvPr id="0" name=""/>
        <dsp:cNvSpPr/>
      </dsp:nvSpPr>
      <dsp:spPr>
        <a:xfrm>
          <a:off x="7180821" y="5376340"/>
          <a:ext cx="440545" cy="1481659"/>
        </a:xfrm>
        <a:custGeom>
          <a:avLst/>
          <a:gdLst/>
          <a:ahLst/>
          <a:cxnLst/>
          <a:rect l="0" t="0" r="0" b="0"/>
          <a:pathLst>
            <a:path>
              <a:moveTo>
                <a:pt x="0" y="0"/>
              </a:moveTo>
              <a:lnTo>
                <a:pt x="0" y="1481659"/>
              </a:lnTo>
              <a:lnTo>
                <a:pt x="440545" y="148165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0491EA-604E-6842-9866-DF2E9CD33930}">
      <dsp:nvSpPr>
        <dsp:cNvPr id="0" name=""/>
        <dsp:cNvSpPr/>
      </dsp:nvSpPr>
      <dsp:spPr>
        <a:xfrm>
          <a:off x="8355608" y="2916317"/>
          <a:ext cx="1720131" cy="503295"/>
        </a:xfrm>
        <a:custGeom>
          <a:avLst/>
          <a:gdLst/>
          <a:ahLst/>
          <a:cxnLst/>
          <a:rect l="0" t="0" r="0" b="0"/>
          <a:pathLst>
            <a:path>
              <a:moveTo>
                <a:pt x="1720131" y="0"/>
              </a:moveTo>
              <a:lnTo>
                <a:pt x="1720131" y="251647"/>
              </a:lnTo>
              <a:lnTo>
                <a:pt x="0" y="251647"/>
              </a:lnTo>
              <a:lnTo>
                <a:pt x="0" y="50329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DC6FEB6-D342-A148-B4E4-3574392637D2}">
      <dsp:nvSpPr>
        <dsp:cNvPr id="0" name=""/>
        <dsp:cNvSpPr/>
      </dsp:nvSpPr>
      <dsp:spPr>
        <a:xfrm>
          <a:off x="3740558" y="5376340"/>
          <a:ext cx="440545" cy="6401706"/>
        </a:xfrm>
        <a:custGeom>
          <a:avLst/>
          <a:gdLst/>
          <a:ahLst/>
          <a:cxnLst/>
          <a:rect l="0" t="0" r="0" b="0"/>
          <a:pathLst>
            <a:path>
              <a:moveTo>
                <a:pt x="0" y="0"/>
              </a:moveTo>
              <a:lnTo>
                <a:pt x="0" y="6401706"/>
              </a:lnTo>
              <a:lnTo>
                <a:pt x="440545" y="64017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CD5F04D-881E-FF45-840F-9065F725359E}">
      <dsp:nvSpPr>
        <dsp:cNvPr id="0" name=""/>
        <dsp:cNvSpPr/>
      </dsp:nvSpPr>
      <dsp:spPr>
        <a:xfrm>
          <a:off x="3740558" y="5376340"/>
          <a:ext cx="440545" cy="3941682"/>
        </a:xfrm>
        <a:custGeom>
          <a:avLst/>
          <a:gdLst/>
          <a:ahLst/>
          <a:cxnLst/>
          <a:rect l="0" t="0" r="0" b="0"/>
          <a:pathLst>
            <a:path>
              <a:moveTo>
                <a:pt x="0" y="0"/>
              </a:moveTo>
              <a:lnTo>
                <a:pt x="0" y="3941682"/>
              </a:lnTo>
              <a:lnTo>
                <a:pt x="440545" y="394168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CB70BC6-8BC2-7740-8498-E09039141FAE}">
      <dsp:nvSpPr>
        <dsp:cNvPr id="0" name=""/>
        <dsp:cNvSpPr/>
      </dsp:nvSpPr>
      <dsp:spPr>
        <a:xfrm>
          <a:off x="3740558" y="5376340"/>
          <a:ext cx="440545" cy="1481659"/>
        </a:xfrm>
        <a:custGeom>
          <a:avLst/>
          <a:gdLst/>
          <a:ahLst/>
          <a:cxnLst/>
          <a:rect l="0" t="0" r="0" b="0"/>
          <a:pathLst>
            <a:path>
              <a:moveTo>
                <a:pt x="0" y="0"/>
              </a:moveTo>
              <a:lnTo>
                <a:pt x="0" y="1481659"/>
              </a:lnTo>
              <a:lnTo>
                <a:pt x="440545" y="148165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AB3DB73-5383-E944-8E93-5490DBAC07ED}">
      <dsp:nvSpPr>
        <dsp:cNvPr id="0" name=""/>
        <dsp:cNvSpPr/>
      </dsp:nvSpPr>
      <dsp:spPr>
        <a:xfrm>
          <a:off x="4915345" y="2916317"/>
          <a:ext cx="5160394" cy="503295"/>
        </a:xfrm>
        <a:custGeom>
          <a:avLst/>
          <a:gdLst/>
          <a:ahLst/>
          <a:cxnLst/>
          <a:rect l="0" t="0" r="0" b="0"/>
          <a:pathLst>
            <a:path>
              <a:moveTo>
                <a:pt x="5160394" y="0"/>
              </a:moveTo>
              <a:lnTo>
                <a:pt x="5160394" y="251647"/>
              </a:lnTo>
              <a:lnTo>
                <a:pt x="0" y="251647"/>
              </a:lnTo>
              <a:lnTo>
                <a:pt x="0" y="50329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DA8158C-1C6B-024B-9E64-1510DD2C7A55}">
      <dsp:nvSpPr>
        <dsp:cNvPr id="0" name=""/>
        <dsp:cNvSpPr/>
      </dsp:nvSpPr>
      <dsp:spPr>
        <a:xfrm>
          <a:off x="300295" y="5376340"/>
          <a:ext cx="440545" cy="6401706"/>
        </a:xfrm>
        <a:custGeom>
          <a:avLst/>
          <a:gdLst/>
          <a:ahLst/>
          <a:cxnLst/>
          <a:rect l="0" t="0" r="0" b="0"/>
          <a:pathLst>
            <a:path>
              <a:moveTo>
                <a:pt x="0" y="0"/>
              </a:moveTo>
              <a:lnTo>
                <a:pt x="0" y="6401706"/>
              </a:lnTo>
              <a:lnTo>
                <a:pt x="440545" y="64017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8E2A4D5-E62D-B048-BDF2-2627D68216CE}">
      <dsp:nvSpPr>
        <dsp:cNvPr id="0" name=""/>
        <dsp:cNvSpPr/>
      </dsp:nvSpPr>
      <dsp:spPr>
        <a:xfrm>
          <a:off x="300295" y="5376340"/>
          <a:ext cx="440545" cy="3941682"/>
        </a:xfrm>
        <a:custGeom>
          <a:avLst/>
          <a:gdLst/>
          <a:ahLst/>
          <a:cxnLst/>
          <a:rect l="0" t="0" r="0" b="0"/>
          <a:pathLst>
            <a:path>
              <a:moveTo>
                <a:pt x="0" y="0"/>
              </a:moveTo>
              <a:lnTo>
                <a:pt x="0" y="3941682"/>
              </a:lnTo>
              <a:lnTo>
                <a:pt x="440545" y="394168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4E963F3-2784-9E43-9E90-000EB562AE2A}">
      <dsp:nvSpPr>
        <dsp:cNvPr id="0" name=""/>
        <dsp:cNvSpPr/>
      </dsp:nvSpPr>
      <dsp:spPr>
        <a:xfrm>
          <a:off x="300295" y="5376340"/>
          <a:ext cx="440545" cy="1481659"/>
        </a:xfrm>
        <a:custGeom>
          <a:avLst/>
          <a:gdLst/>
          <a:ahLst/>
          <a:cxnLst/>
          <a:rect l="0" t="0" r="0" b="0"/>
          <a:pathLst>
            <a:path>
              <a:moveTo>
                <a:pt x="0" y="0"/>
              </a:moveTo>
              <a:lnTo>
                <a:pt x="0" y="1481659"/>
              </a:lnTo>
              <a:lnTo>
                <a:pt x="440545" y="148165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F5D9B2B-0CE6-4D47-A7B6-80BAEBDC59FC}">
      <dsp:nvSpPr>
        <dsp:cNvPr id="0" name=""/>
        <dsp:cNvSpPr/>
      </dsp:nvSpPr>
      <dsp:spPr>
        <a:xfrm>
          <a:off x="1475082" y="2916317"/>
          <a:ext cx="8600657" cy="503295"/>
        </a:xfrm>
        <a:custGeom>
          <a:avLst/>
          <a:gdLst/>
          <a:ahLst/>
          <a:cxnLst/>
          <a:rect l="0" t="0" r="0" b="0"/>
          <a:pathLst>
            <a:path>
              <a:moveTo>
                <a:pt x="8600657" y="0"/>
              </a:moveTo>
              <a:lnTo>
                <a:pt x="8600657" y="251647"/>
              </a:lnTo>
              <a:lnTo>
                <a:pt x="0" y="251647"/>
              </a:lnTo>
              <a:lnTo>
                <a:pt x="0" y="50329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6637420-A86F-4644-990A-75D86B7E454C}">
      <dsp:nvSpPr>
        <dsp:cNvPr id="0" name=""/>
        <dsp:cNvSpPr/>
      </dsp:nvSpPr>
      <dsp:spPr>
        <a:xfrm>
          <a:off x="8569077" y="959588"/>
          <a:ext cx="3013324" cy="1956728"/>
        </a:xfrm>
        <a:prstGeom prst="roundRect">
          <a:avLst/>
        </a:prstGeom>
        <a:solidFill>
          <a:schemeClr val="accent1">
            <a:lumMod val="5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Cart Checkout Rate</a:t>
          </a:r>
          <a:endParaRPr lang="en-US" sz="1800" b="1" kern="1200" dirty="0"/>
        </a:p>
      </dsp:txBody>
      <dsp:txXfrm>
        <a:off x="8664597" y="1055108"/>
        <a:ext cx="2822284" cy="1765688"/>
      </dsp:txXfrm>
    </dsp:sp>
    <dsp:sp modelId="{91D7ADA8-1475-9349-913E-9C2D53C1D7C9}">
      <dsp:nvSpPr>
        <dsp:cNvPr id="0" name=""/>
        <dsp:cNvSpPr/>
      </dsp:nvSpPr>
      <dsp:spPr>
        <a:xfrm>
          <a:off x="6598" y="3419612"/>
          <a:ext cx="2936967" cy="1956728"/>
        </a:xfrm>
        <a:prstGeom prst="roundRect">
          <a:avLst/>
        </a:prstGeom>
        <a:solidFill>
          <a:schemeClr val="accent1">
            <a:hueOff val="0"/>
            <a:satOff val="0"/>
            <a:lumOff val="0"/>
            <a:alphaOff val="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Simplifying decision making</a:t>
          </a:r>
          <a:endParaRPr lang="en-US" sz="1800" b="1" kern="1200" dirty="0">
            <a:effectLst>
              <a:outerShdw blurRad="50800" dist="38100" dir="2700000" algn="tl" rotWithShape="0">
                <a:prstClr val="black">
                  <a:alpha val="40000"/>
                </a:prstClr>
              </a:outerShdw>
            </a:effectLst>
          </a:endParaRPr>
        </a:p>
      </dsp:txBody>
      <dsp:txXfrm>
        <a:off x="102118" y="3515132"/>
        <a:ext cx="2745927" cy="1765688"/>
      </dsp:txXfrm>
    </dsp:sp>
    <dsp:sp modelId="{2ED78204-93EC-064C-823A-1586CD82394C}">
      <dsp:nvSpPr>
        <dsp:cNvPr id="0" name=""/>
        <dsp:cNvSpPr/>
      </dsp:nvSpPr>
      <dsp:spPr>
        <a:xfrm>
          <a:off x="740840" y="5879635"/>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Addressing questions / concerns</a:t>
          </a:r>
          <a:endParaRPr lang="en-US" sz="1800" b="1" kern="1200" dirty="0">
            <a:effectLst>
              <a:outerShdw blurRad="50800" dist="38100" dir="2700000" algn="tl" rotWithShape="0">
                <a:prstClr val="black">
                  <a:alpha val="40000"/>
                </a:prstClr>
              </a:outerShdw>
            </a:effectLst>
          </a:endParaRPr>
        </a:p>
      </dsp:txBody>
      <dsp:txXfrm>
        <a:off x="836360" y="5975155"/>
        <a:ext cx="2205604" cy="1765688"/>
      </dsp:txXfrm>
    </dsp:sp>
    <dsp:sp modelId="{3B98D480-5A9A-0A4D-8BDC-FE216FA48EE4}">
      <dsp:nvSpPr>
        <dsp:cNvPr id="0" name=""/>
        <dsp:cNvSpPr/>
      </dsp:nvSpPr>
      <dsp:spPr>
        <a:xfrm>
          <a:off x="740840" y="8339659"/>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Reduce pressure of the decision</a:t>
          </a:r>
          <a:endParaRPr lang="en-US" sz="1800" b="1" kern="1200" dirty="0">
            <a:effectLst>
              <a:outerShdw blurRad="50800" dist="38100" dir="2700000" algn="tl" rotWithShape="0">
                <a:prstClr val="black">
                  <a:alpha val="40000"/>
                </a:prstClr>
              </a:outerShdw>
            </a:effectLst>
          </a:endParaRPr>
        </a:p>
      </dsp:txBody>
      <dsp:txXfrm>
        <a:off x="836360" y="8435179"/>
        <a:ext cx="2205604" cy="1765688"/>
      </dsp:txXfrm>
    </dsp:sp>
    <dsp:sp modelId="{2C0E0A56-4821-5340-9545-5653DBEF3E82}">
      <dsp:nvSpPr>
        <dsp:cNvPr id="0" name=""/>
        <dsp:cNvSpPr/>
      </dsp:nvSpPr>
      <dsp:spPr>
        <a:xfrm>
          <a:off x="740840" y="10799682"/>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Simplify consultation</a:t>
          </a:r>
          <a:endParaRPr lang="en-US" sz="1800" b="1" kern="1200" dirty="0">
            <a:effectLst>
              <a:outerShdw blurRad="50800" dist="38100" dir="2700000" algn="tl" rotWithShape="0">
                <a:prstClr val="black">
                  <a:alpha val="40000"/>
                </a:prstClr>
              </a:outerShdw>
            </a:effectLst>
          </a:endParaRPr>
        </a:p>
      </dsp:txBody>
      <dsp:txXfrm>
        <a:off x="836360" y="10895202"/>
        <a:ext cx="2205604" cy="1765688"/>
      </dsp:txXfrm>
    </dsp:sp>
    <dsp:sp modelId="{6A1B3FF2-4302-AB42-9144-D0C7AF33189D}">
      <dsp:nvSpPr>
        <dsp:cNvPr id="0" name=""/>
        <dsp:cNvSpPr/>
      </dsp:nvSpPr>
      <dsp:spPr>
        <a:xfrm>
          <a:off x="3446861" y="3419612"/>
          <a:ext cx="2936967" cy="1956728"/>
        </a:xfrm>
        <a:prstGeom prst="roundRect">
          <a:avLst/>
        </a:prstGeom>
        <a:solidFill>
          <a:schemeClr val="accent1">
            <a:hueOff val="0"/>
            <a:satOff val="0"/>
            <a:lumOff val="0"/>
            <a:alphaOff val="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Seamless session continuation across visits</a:t>
          </a:r>
          <a:endParaRPr lang="en-US" sz="1800" b="1" kern="1200" dirty="0">
            <a:effectLst>
              <a:outerShdw blurRad="50800" dist="38100" dir="2700000" algn="tl" rotWithShape="0">
                <a:prstClr val="black">
                  <a:alpha val="40000"/>
                </a:prstClr>
              </a:outerShdw>
            </a:effectLst>
          </a:endParaRPr>
        </a:p>
      </dsp:txBody>
      <dsp:txXfrm>
        <a:off x="3542381" y="3515132"/>
        <a:ext cx="2745927" cy="1765688"/>
      </dsp:txXfrm>
    </dsp:sp>
    <dsp:sp modelId="{22959F47-69F7-D445-9334-5C7C176A2653}">
      <dsp:nvSpPr>
        <dsp:cNvPr id="0" name=""/>
        <dsp:cNvSpPr/>
      </dsp:nvSpPr>
      <dsp:spPr>
        <a:xfrm>
          <a:off x="4181103" y="5879635"/>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Abandon basket e-mails</a:t>
          </a:r>
          <a:endParaRPr lang="en-US" sz="1800" b="1" kern="1200" dirty="0">
            <a:effectLst>
              <a:outerShdw blurRad="50800" dist="38100" dir="2700000" algn="tl" rotWithShape="0">
                <a:prstClr val="black">
                  <a:alpha val="40000"/>
                </a:prstClr>
              </a:outerShdw>
            </a:effectLst>
          </a:endParaRPr>
        </a:p>
      </dsp:txBody>
      <dsp:txXfrm>
        <a:off x="4276623" y="5975155"/>
        <a:ext cx="2205604" cy="1765688"/>
      </dsp:txXfrm>
    </dsp:sp>
    <dsp:sp modelId="{35471471-CB84-0746-BDD4-1655B6C5471A}">
      <dsp:nvSpPr>
        <dsp:cNvPr id="0" name=""/>
        <dsp:cNvSpPr/>
      </dsp:nvSpPr>
      <dsp:spPr>
        <a:xfrm>
          <a:off x="4181103" y="8339659"/>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Push last item viewed / redirect to conversion step</a:t>
          </a:r>
          <a:endParaRPr lang="en-US" sz="1800" b="1" kern="1200" dirty="0">
            <a:effectLst>
              <a:outerShdw blurRad="50800" dist="38100" dir="2700000" algn="tl" rotWithShape="0">
                <a:prstClr val="black">
                  <a:alpha val="40000"/>
                </a:prstClr>
              </a:outerShdw>
            </a:effectLst>
          </a:endParaRPr>
        </a:p>
      </dsp:txBody>
      <dsp:txXfrm>
        <a:off x="4276623" y="8435179"/>
        <a:ext cx="2205604" cy="1765688"/>
      </dsp:txXfrm>
    </dsp:sp>
    <dsp:sp modelId="{9276651D-6194-EA49-8E09-02C1BFFFA9D5}">
      <dsp:nvSpPr>
        <dsp:cNvPr id="0" name=""/>
        <dsp:cNvSpPr/>
      </dsp:nvSpPr>
      <dsp:spPr>
        <a:xfrm>
          <a:off x="4181103" y="10799682"/>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Push the same product types</a:t>
          </a:r>
          <a:endParaRPr lang="en-US" sz="1800" b="1" kern="1200" dirty="0">
            <a:effectLst>
              <a:outerShdw blurRad="50800" dist="38100" dir="2700000" algn="tl" rotWithShape="0">
                <a:prstClr val="black">
                  <a:alpha val="40000"/>
                </a:prstClr>
              </a:outerShdw>
            </a:effectLst>
          </a:endParaRPr>
        </a:p>
      </dsp:txBody>
      <dsp:txXfrm>
        <a:off x="4276623" y="10895202"/>
        <a:ext cx="2205604" cy="1765688"/>
      </dsp:txXfrm>
    </dsp:sp>
    <dsp:sp modelId="{C98D4C05-6DFD-F848-8831-CA53C562EFA9}">
      <dsp:nvSpPr>
        <dsp:cNvPr id="0" name=""/>
        <dsp:cNvSpPr/>
      </dsp:nvSpPr>
      <dsp:spPr>
        <a:xfrm>
          <a:off x="6887124" y="3419612"/>
          <a:ext cx="2936967" cy="1956728"/>
        </a:xfrm>
        <a:prstGeom prst="roundRect">
          <a:avLst/>
        </a:prstGeom>
        <a:solidFill>
          <a:schemeClr val="accent1">
            <a:hueOff val="0"/>
            <a:satOff val="0"/>
            <a:lumOff val="0"/>
            <a:alphaOff val="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Funnel path optimization</a:t>
          </a:r>
          <a:endParaRPr lang="en-US" sz="1800" b="1" kern="1200" dirty="0">
            <a:effectLst>
              <a:outerShdw blurRad="50800" dist="38100" dir="2700000" algn="tl" rotWithShape="0">
                <a:prstClr val="black">
                  <a:alpha val="40000"/>
                </a:prstClr>
              </a:outerShdw>
            </a:effectLst>
          </a:endParaRPr>
        </a:p>
      </dsp:txBody>
      <dsp:txXfrm>
        <a:off x="6982644" y="3515132"/>
        <a:ext cx="2745927" cy="1765688"/>
      </dsp:txXfrm>
    </dsp:sp>
    <dsp:sp modelId="{7AAAE15D-9C55-1D43-B8B7-B04F0D48EABD}">
      <dsp:nvSpPr>
        <dsp:cNvPr id="0" name=""/>
        <dsp:cNvSpPr/>
      </dsp:nvSpPr>
      <dsp:spPr>
        <a:xfrm>
          <a:off x="7621366" y="5879635"/>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Tailor user experience by selected funnel path (search v. browse v. deals)</a:t>
          </a:r>
          <a:endParaRPr lang="en-US" sz="1800" b="1" kern="1200" dirty="0">
            <a:effectLst>
              <a:outerShdw blurRad="50800" dist="38100" dir="2700000" algn="tl" rotWithShape="0">
                <a:prstClr val="black">
                  <a:alpha val="40000"/>
                </a:prstClr>
              </a:outerShdw>
            </a:effectLst>
          </a:endParaRPr>
        </a:p>
      </dsp:txBody>
      <dsp:txXfrm>
        <a:off x="7716886" y="5975155"/>
        <a:ext cx="2205604" cy="1765688"/>
      </dsp:txXfrm>
    </dsp:sp>
    <dsp:sp modelId="{7C50BECD-9391-C544-9079-7DCA06B1B106}">
      <dsp:nvSpPr>
        <dsp:cNvPr id="0" name=""/>
        <dsp:cNvSpPr/>
      </dsp:nvSpPr>
      <dsp:spPr>
        <a:xfrm>
          <a:off x="7621366" y="8339659"/>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Reduce number of steps in finding and comparing products</a:t>
          </a:r>
          <a:endParaRPr lang="en-US" sz="1800" b="1" kern="1200" dirty="0">
            <a:effectLst>
              <a:outerShdw blurRad="50800" dist="38100" dir="2700000" algn="tl" rotWithShape="0">
                <a:prstClr val="black">
                  <a:alpha val="40000"/>
                </a:prstClr>
              </a:outerShdw>
            </a:effectLst>
          </a:endParaRPr>
        </a:p>
      </dsp:txBody>
      <dsp:txXfrm>
        <a:off x="7716886" y="8435179"/>
        <a:ext cx="2205604" cy="1765688"/>
      </dsp:txXfrm>
    </dsp:sp>
    <dsp:sp modelId="{C8DB6E88-65AB-3947-BF5E-D30F973C203C}">
      <dsp:nvSpPr>
        <dsp:cNvPr id="0" name=""/>
        <dsp:cNvSpPr/>
      </dsp:nvSpPr>
      <dsp:spPr>
        <a:xfrm>
          <a:off x="7621366" y="10799682"/>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Redirect users to higher ROI funnel paths</a:t>
          </a:r>
          <a:endParaRPr lang="en-US" sz="1800" b="1" kern="1200" dirty="0">
            <a:effectLst>
              <a:outerShdw blurRad="50800" dist="38100" dir="2700000" algn="tl" rotWithShape="0">
                <a:prstClr val="black">
                  <a:alpha val="40000"/>
                </a:prstClr>
              </a:outerShdw>
            </a:effectLst>
          </a:endParaRPr>
        </a:p>
      </dsp:txBody>
      <dsp:txXfrm>
        <a:off x="7716886" y="10895202"/>
        <a:ext cx="2205604" cy="1765688"/>
      </dsp:txXfrm>
    </dsp:sp>
    <dsp:sp modelId="{F63DB975-E825-ED40-9ED5-8EF8047133DC}">
      <dsp:nvSpPr>
        <dsp:cNvPr id="0" name=""/>
        <dsp:cNvSpPr/>
      </dsp:nvSpPr>
      <dsp:spPr>
        <a:xfrm>
          <a:off x="10327387" y="3419612"/>
          <a:ext cx="2936967" cy="1956728"/>
        </a:xfrm>
        <a:prstGeom prst="roundRect">
          <a:avLst/>
        </a:prstGeom>
        <a:solidFill>
          <a:schemeClr val="accent1">
            <a:hueOff val="0"/>
            <a:satOff val="0"/>
            <a:lumOff val="0"/>
            <a:alphaOff val="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Reducing steps in checkout</a:t>
          </a:r>
          <a:endParaRPr lang="en-US" sz="1800" b="1" kern="1200" dirty="0">
            <a:effectLst>
              <a:outerShdw blurRad="50800" dist="38100" dir="2700000" algn="tl" rotWithShape="0">
                <a:prstClr val="black">
                  <a:alpha val="40000"/>
                </a:prstClr>
              </a:outerShdw>
            </a:effectLst>
          </a:endParaRPr>
        </a:p>
      </dsp:txBody>
      <dsp:txXfrm>
        <a:off x="10422907" y="3515132"/>
        <a:ext cx="2745927" cy="1765688"/>
      </dsp:txXfrm>
    </dsp:sp>
    <dsp:sp modelId="{BD45870A-B3FE-4649-A1E8-44ABA898ACEB}">
      <dsp:nvSpPr>
        <dsp:cNvPr id="0" name=""/>
        <dsp:cNvSpPr/>
      </dsp:nvSpPr>
      <dsp:spPr>
        <a:xfrm>
          <a:off x="11061629" y="5879635"/>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Skipping upsells</a:t>
          </a:r>
          <a:endParaRPr lang="en-US" sz="1800" b="1" kern="1200" dirty="0">
            <a:effectLst>
              <a:outerShdw blurRad="50800" dist="38100" dir="2700000" algn="tl" rotWithShape="0">
                <a:prstClr val="black">
                  <a:alpha val="40000"/>
                </a:prstClr>
              </a:outerShdw>
            </a:effectLst>
          </a:endParaRPr>
        </a:p>
      </dsp:txBody>
      <dsp:txXfrm>
        <a:off x="11157149" y="5975155"/>
        <a:ext cx="2205604" cy="1765688"/>
      </dsp:txXfrm>
    </dsp:sp>
    <dsp:sp modelId="{667C8B84-66F0-D04D-AF88-0F329C747158}">
      <dsp:nvSpPr>
        <dsp:cNvPr id="0" name=""/>
        <dsp:cNvSpPr/>
      </dsp:nvSpPr>
      <dsp:spPr>
        <a:xfrm>
          <a:off x="11061629" y="8339659"/>
          <a:ext cx="2396644" cy="1956728"/>
        </a:xfrm>
        <a:prstGeom prst="roundRect">
          <a:avLst/>
        </a:prstGeom>
        <a:solidFill>
          <a:schemeClr val="accent1">
            <a:lumMod val="60000"/>
            <a:lumOff val="40000"/>
          </a:schemeClr>
        </a:solidFill>
        <a:ln w="101600" cap="flat" cmpd="dbl" algn="ctr">
          <a:solidFill>
            <a:srgbClr val="FFFFFF"/>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Reduce questions / steps</a:t>
          </a:r>
          <a:endParaRPr lang="en-US" sz="1800" b="1" kern="1200" dirty="0">
            <a:effectLst>
              <a:outerShdw blurRad="50800" dist="38100" dir="2700000" algn="tl" rotWithShape="0">
                <a:prstClr val="black">
                  <a:alpha val="40000"/>
                </a:prstClr>
              </a:outerShdw>
            </a:effectLst>
          </a:endParaRPr>
        </a:p>
      </dsp:txBody>
      <dsp:txXfrm>
        <a:off x="11157149" y="8435179"/>
        <a:ext cx="2205604" cy="1765688"/>
      </dsp:txXfrm>
    </dsp:sp>
    <dsp:sp modelId="{0B86221D-B7E4-B74C-ACB9-8C43A9AE47F7}">
      <dsp:nvSpPr>
        <dsp:cNvPr id="0" name=""/>
        <dsp:cNvSpPr/>
      </dsp:nvSpPr>
      <dsp:spPr>
        <a:xfrm>
          <a:off x="11061629" y="10799682"/>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Pre-fill data</a:t>
          </a:r>
          <a:endParaRPr lang="en-US" sz="1800" b="1" kern="1200" dirty="0">
            <a:effectLst>
              <a:outerShdw blurRad="50800" dist="38100" dir="2700000" algn="tl" rotWithShape="0">
                <a:prstClr val="black">
                  <a:alpha val="40000"/>
                </a:prstClr>
              </a:outerShdw>
            </a:effectLst>
          </a:endParaRPr>
        </a:p>
      </dsp:txBody>
      <dsp:txXfrm>
        <a:off x="11157149" y="10895202"/>
        <a:ext cx="2205604" cy="1765688"/>
      </dsp:txXfrm>
    </dsp:sp>
    <dsp:sp modelId="{572E3CDC-5D66-514E-8912-D04551846EC7}">
      <dsp:nvSpPr>
        <dsp:cNvPr id="0" name=""/>
        <dsp:cNvSpPr/>
      </dsp:nvSpPr>
      <dsp:spPr>
        <a:xfrm>
          <a:off x="13767650" y="3419612"/>
          <a:ext cx="2936967" cy="1956728"/>
        </a:xfrm>
        <a:prstGeom prst="roundRect">
          <a:avLst/>
        </a:prstGeom>
        <a:solidFill>
          <a:schemeClr val="accent1">
            <a:hueOff val="0"/>
            <a:satOff val="0"/>
            <a:lumOff val="0"/>
            <a:alphaOff val="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Personalization</a:t>
          </a:r>
          <a:endParaRPr lang="en-US" sz="1800" b="1" kern="1200" dirty="0">
            <a:effectLst>
              <a:outerShdw blurRad="50800" dist="38100" dir="2700000" algn="tl" rotWithShape="0">
                <a:prstClr val="black">
                  <a:alpha val="40000"/>
                </a:prstClr>
              </a:outerShdw>
            </a:effectLst>
          </a:endParaRPr>
        </a:p>
      </dsp:txBody>
      <dsp:txXfrm>
        <a:off x="13863170" y="3515132"/>
        <a:ext cx="2745927" cy="1765688"/>
      </dsp:txXfrm>
    </dsp:sp>
    <dsp:sp modelId="{312925C6-1321-8C4D-8ECE-565EBD85AA53}">
      <dsp:nvSpPr>
        <dsp:cNvPr id="0" name=""/>
        <dsp:cNvSpPr/>
      </dsp:nvSpPr>
      <dsp:spPr>
        <a:xfrm>
          <a:off x="14501892" y="5879635"/>
          <a:ext cx="2396644" cy="1956728"/>
        </a:xfrm>
        <a:prstGeom prst="roundRect">
          <a:avLst/>
        </a:prstGeom>
        <a:solidFill>
          <a:schemeClr val="accent1">
            <a:lumMod val="60000"/>
            <a:lumOff val="40000"/>
          </a:schemeClr>
        </a:solidFill>
        <a:ln w="101600" cap="flat" cmpd="dbl" algn="ctr">
          <a:solidFill>
            <a:srgbClr val="FFFFFF"/>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Targeted offers / content displayed</a:t>
          </a:r>
          <a:endParaRPr lang="en-US" sz="1800" b="1" kern="1200" dirty="0">
            <a:effectLst>
              <a:outerShdw blurRad="50800" dist="38100" dir="2700000" algn="tl" rotWithShape="0">
                <a:prstClr val="black">
                  <a:alpha val="40000"/>
                </a:prstClr>
              </a:outerShdw>
            </a:effectLst>
          </a:endParaRPr>
        </a:p>
      </dsp:txBody>
      <dsp:txXfrm>
        <a:off x="14597412" y="5975155"/>
        <a:ext cx="2205604" cy="1765688"/>
      </dsp:txXfrm>
    </dsp:sp>
    <dsp:sp modelId="{96DE10DD-2A27-1E4E-A6B9-8640BCC5A191}">
      <dsp:nvSpPr>
        <dsp:cNvPr id="0" name=""/>
        <dsp:cNvSpPr/>
      </dsp:nvSpPr>
      <dsp:spPr>
        <a:xfrm>
          <a:off x="14501892" y="8339659"/>
          <a:ext cx="2396644" cy="1956728"/>
        </a:xfrm>
        <a:prstGeom prst="roundRect">
          <a:avLst/>
        </a:prstGeom>
        <a:solidFill>
          <a:schemeClr val="accent1">
            <a:lumMod val="60000"/>
            <a:lumOff val="40000"/>
          </a:schemeClr>
        </a:solidFill>
        <a:ln w="101600" cap="flat" cmpd="dbl" algn="ctr">
          <a:solidFill>
            <a:srgbClr val="FFFFFF"/>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Messaging + Unique Selling Points adjusted by user segment</a:t>
          </a:r>
          <a:endParaRPr lang="en-US" sz="1800" b="1" kern="1200" dirty="0">
            <a:effectLst>
              <a:outerShdw blurRad="50800" dist="38100" dir="2700000" algn="tl" rotWithShape="0">
                <a:prstClr val="black">
                  <a:alpha val="40000"/>
                </a:prstClr>
              </a:outerShdw>
            </a:effectLst>
          </a:endParaRPr>
        </a:p>
      </dsp:txBody>
      <dsp:txXfrm>
        <a:off x="14597412" y="8435179"/>
        <a:ext cx="2205604" cy="1765688"/>
      </dsp:txXfrm>
    </dsp:sp>
    <dsp:sp modelId="{210923D2-AC03-0946-B698-462DDD0B6542}">
      <dsp:nvSpPr>
        <dsp:cNvPr id="0" name=""/>
        <dsp:cNvSpPr/>
      </dsp:nvSpPr>
      <dsp:spPr>
        <a:xfrm>
          <a:off x="14501892" y="10799682"/>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Marketing + Imagery per audience</a:t>
          </a:r>
          <a:endParaRPr lang="en-US" sz="1800" b="1" kern="1200" dirty="0">
            <a:effectLst>
              <a:outerShdw blurRad="50800" dist="38100" dir="2700000" algn="tl" rotWithShape="0">
                <a:prstClr val="black">
                  <a:alpha val="40000"/>
                </a:prstClr>
              </a:outerShdw>
            </a:effectLst>
          </a:endParaRPr>
        </a:p>
      </dsp:txBody>
      <dsp:txXfrm>
        <a:off x="14597412" y="10895202"/>
        <a:ext cx="2205604" cy="1765688"/>
      </dsp:txXfrm>
    </dsp:sp>
    <dsp:sp modelId="{0FE69002-AB56-3740-A6BE-C29542137A47}">
      <dsp:nvSpPr>
        <dsp:cNvPr id="0" name=""/>
        <dsp:cNvSpPr/>
      </dsp:nvSpPr>
      <dsp:spPr>
        <a:xfrm>
          <a:off x="17145002" y="3428995"/>
          <a:ext cx="2936967" cy="1956728"/>
        </a:xfrm>
        <a:prstGeom prst="roundRect">
          <a:avLst/>
        </a:prstGeom>
        <a:solidFill>
          <a:schemeClr val="accent1">
            <a:hueOff val="0"/>
            <a:satOff val="0"/>
            <a:lumOff val="0"/>
            <a:alphaOff val="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Seasonality</a:t>
          </a:r>
          <a:endParaRPr lang="en-US" sz="1800" b="1" kern="1200" dirty="0">
            <a:effectLst>
              <a:outerShdw blurRad="50800" dist="38100" dir="2700000" algn="tl" rotWithShape="0">
                <a:prstClr val="black">
                  <a:alpha val="40000"/>
                </a:prstClr>
              </a:outerShdw>
            </a:effectLst>
          </a:endParaRPr>
        </a:p>
      </dsp:txBody>
      <dsp:txXfrm>
        <a:off x="17240522" y="3524515"/>
        <a:ext cx="2745927" cy="1765688"/>
      </dsp:txXfrm>
    </dsp:sp>
    <dsp:sp modelId="{3F382FC2-12CB-D943-89ED-75CADBE6B2B9}">
      <dsp:nvSpPr>
        <dsp:cNvPr id="0" name=""/>
        <dsp:cNvSpPr/>
      </dsp:nvSpPr>
      <dsp:spPr>
        <a:xfrm>
          <a:off x="17942155" y="5879635"/>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Product selection by season</a:t>
          </a:r>
          <a:endParaRPr lang="en-US" sz="1800" b="1" kern="1200" dirty="0">
            <a:effectLst>
              <a:outerShdw blurRad="50800" dist="38100" dir="2700000" algn="tl" rotWithShape="0">
                <a:prstClr val="black">
                  <a:alpha val="40000"/>
                </a:prstClr>
              </a:outerShdw>
            </a:effectLst>
          </a:endParaRPr>
        </a:p>
      </dsp:txBody>
      <dsp:txXfrm>
        <a:off x="18037675" y="5975155"/>
        <a:ext cx="2205604" cy="1765688"/>
      </dsp:txXfrm>
    </dsp:sp>
    <dsp:sp modelId="{EA99EEAC-15F9-BB4A-A17F-8DF66EAF1CDC}">
      <dsp:nvSpPr>
        <dsp:cNvPr id="0" name=""/>
        <dsp:cNvSpPr/>
      </dsp:nvSpPr>
      <dsp:spPr>
        <a:xfrm>
          <a:off x="17942155" y="8339659"/>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Tailor to varying user intent (purchase versus research)</a:t>
          </a:r>
          <a:endParaRPr lang="en-US" sz="1800" b="1" kern="1200" dirty="0">
            <a:effectLst>
              <a:outerShdw blurRad="50800" dist="38100" dir="2700000" algn="tl" rotWithShape="0">
                <a:prstClr val="black">
                  <a:alpha val="40000"/>
                </a:prstClr>
              </a:outerShdw>
            </a:effectLst>
          </a:endParaRPr>
        </a:p>
      </dsp:txBody>
      <dsp:txXfrm>
        <a:off x="18037675" y="8435179"/>
        <a:ext cx="2205604" cy="1765688"/>
      </dsp:txXfrm>
    </dsp:sp>
    <dsp:sp modelId="{72D53164-9DF1-584A-A8A9-A81741EC7864}">
      <dsp:nvSpPr>
        <dsp:cNvPr id="0" name=""/>
        <dsp:cNvSpPr/>
      </dsp:nvSpPr>
      <dsp:spPr>
        <a:xfrm>
          <a:off x="17942155" y="10799682"/>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Optimize landing pages per season</a:t>
          </a:r>
          <a:endParaRPr lang="en-US" sz="1800" b="1" kern="1200" dirty="0">
            <a:effectLst>
              <a:outerShdw blurRad="50800" dist="38100" dir="2700000" algn="tl" rotWithShape="0">
                <a:prstClr val="black">
                  <a:alpha val="40000"/>
                </a:prstClr>
              </a:outerShdw>
            </a:effectLst>
          </a:endParaRPr>
        </a:p>
      </dsp:txBody>
      <dsp:txXfrm>
        <a:off x="18037675" y="10895202"/>
        <a:ext cx="2205604" cy="1765688"/>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121" name="Rectangle 1"/>
          <p:cNvSpPr>
            <a:spLocks noGrp="1" noRot="1" noChangeAspect="1"/>
          </p:cNvSpPr>
          <p:nvPr>
            <p:ph type="sldImg"/>
          </p:nvPr>
        </p:nvSpPr>
        <p:spPr bwMode="auto">
          <a:xfrm>
            <a:off x="1143000" y="685800"/>
            <a:ext cx="4572000" cy="34290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bevel/>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val="1"/>
            </a:ext>
          </a:extLst>
        </p:spPr>
      </p:sp>
      <p:sp>
        <p:nvSpPr>
          <p:cNvPr id="5122" name="Rectangle 2"/>
          <p:cNvSpPr>
            <a:spLocks noGrp="1"/>
          </p:cNvSpPr>
          <p:nvPr>
            <p:ph type="body" sz="quarter" idx="1"/>
          </p:nvPr>
        </p:nvSpPr>
        <p:spPr bwMode="auto">
          <a:xfrm>
            <a:off x="914400" y="4343400"/>
            <a:ext cx="5029200" cy="4114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bevel/>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noProof="0" smtClean="0">
                <a:sym typeface="Avenir Book" charset="0"/>
              </a:rPr>
              <a:t>Click to edit Master text styles</a:t>
            </a:r>
          </a:p>
          <a:p>
            <a:pPr lvl="1"/>
            <a:r>
              <a:rPr lang="en-US" noProof="0" smtClean="0">
                <a:sym typeface="Avenir Book" charset="0"/>
              </a:rPr>
              <a:t>Second level</a:t>
            </a:r>
          </a:p>
          <a:p>
            <a:pPr lvl="2"/>
            <a:r>
              <a:rPr lang="en-US" noProof="0" smtClean="0">
                <a:sym typeface="Avenir Book" charset="0"/>
              </a:rPr>
              <a:t>Third level</a:t>
            </a:r>
          </a:p>
          <a:p>
            <a:pPr lvl="3"/>
            <a:r>
              <a:rPr lang="en-US" noProof="0" smtClean="0">
                <a:sym typeface="Avenir Book" charset="0"/>
              </a:rPr>
              <a:t>Fourth level</a:t>
            </a:r>
          </a:p>
          <a:p>
            <a:pPr lvl="4"/>
            <a:r>
              <a:rPr lang="en-US" noProof="0" smtClean="0">
                <a:sym typeface="Avenir Book" charset="0"/>
              </a:rPr>
              <a:t>Fifth level</a:t>
            </a:r>
          </a:p>
        </p:txBody>
      </p:sp>
    </p:spTree>
    <p:extLst>
      <p:ext uri="{BB962C8B-B14F-4D97-AF65-F5344CB8AC3E}">
        <p14:creationId xmlns:p14="http://schemas.microsoft.com/office/powerpoint/2010/main" val="2231671846"/>
      </p:ext>
    </p:extLst>
  </p:cSld>
  <p:clrMap bg1="lt1" tx1="dk1" bg2="lt2" tx2="dk2" accent1="accent1" accent2="accent2" accent3="accent3" accent4="accent4" accent5="accent5" accent6="accent6" hlink="hlink" folHlink="folHlink"/>
  <p:notesStyle>
    <a:lvl1pPr algn="l" defTabSz="457200" rtl="0" eaLnBrk="0" fontAlgn="base" hangingPunct="0">
      <a:lnSpc>
        <a:spcPct val="125000"/>
      </a:lnSpc>
      <a:spcBef>
        <a:spcPct val="0"/>
      </a:spcBef>
      <a:spcAft>
        <a:spcPct val="0"/>
      </a:spcAft>
      <a:defRPr sz="2400" kern="1200">
        <a:solidFill>
          <a:srgbClr val="000000"/>
        </a:solidFill>
        <a:latin typeface="Avenir Book" charset="0"/>
        <a:ea typeface="ＭＳ Ｐゴシック" charset="0"/>
        <a:cs typeface="Avenir Book" charset="0"/>
        <a:sym typeface="Avenir Book" charset="0"/>
      </a:defRPr>
    </a:lvl1pPr>
    <a:lvl2pPr indent="228600" algn="l" defTabSz="457200" rtl="0" eaLnBrk="0" fontAlgn="base" hangingPunct="0">
      <a:lnSpc>
        <a:spcPct val="125000"/>
      </a:lnSpc>
      <a:spcBef>
        <a:spcPct val="0"/>
      </a:spcBef>
      <a:spcAft>
        <a:spcPct val="0"/>
      </a:spcAft>
      <a:defRPr sz="2400" kern="1200">
        <a:solidFill>
          <a:srgbClr val="000000"/>
        </a:solidFill>
        <a:latin typeface="Avenir Book" charset="0"/>
        <a:ea typeface="Avenir Book" charset="0"/>
        <a:cs typeface="Avenir Book" charset="0"/>
        <a:sym typeface="Avenir Book" charset="0"/>
      </a:defRPr>
    </a:lvl2pPr>
    <a:lvl3pPr indent="457200" algn="l" defTabSz="457200" rtl="0" eaLnBrk="0" fontAlgn="base" hangingPunct="0">
      <a:lnSpc>
        <a:spcPct val="125000"/>
      </a:lnSpc>
      <a:spcBef>
        <a:spcPct val="0"/>
      </a:spcBef>
      <a:spcAft>
        <a:spcPct val="0"/>
      </a:spcAft>
      <a:defRPr sz="2400" kern="1200">
        <a:solidFill>
          <a:srgbClr val="000000"/>
        </a:solidFill>
        <a:latin typeface="Avenir Book" charset="0"/>
        <a:ea typeface="Avenir Book" charset="0"/>
        <a:cs typeface="Avenir Book" charset="0"/>
        <a:sym typeface="Avenir Book" charset="0"/>
      </a:defRPr>
    </a:lvl3pPr>
    <a:lvl4pPr indent="685800" algn="l" defTabSz="457200" rtl="0" eaLnBrk="0" fontAlgn="base" hangingPunct="0">
      <a:lnSpc>
        <a:spcPct val="125000"/>
      </a:lnSpc>
      <a:spcBef>
        <a:spcPct val="0"/>
      </a:spcBef>
      <a:spcAft>
        <a:spcPct val="0"/>
      </a:spcAft>
      <a:defRPr sz="2400" kern="1200">
        <a:solidFill>
          <a:srgbClr val="000000"/>
        </a:solidFill>
        <a:latin typeface="Avenir Book" charset="0"/>
        <a:ea typeface="Avenir Book" charset="0"/>
        <a:cs typeface="Avenir Book" charset="0"/>
        <a:sym typeface="Avenir Book" charset="0"/>
      </a:defRPr>
    </a:lvl4pPr>
    <a:lvl5pPr indent="914400" algn="l" defTabSz="457200" rtl="0" eaLnBrk="0" fontAlgn="base" hangingPunct="0">
      <a:lnSpc>
        <a:spcPct val="125000"/>
      </a:lnSpc>
      <a:spcBef>
        <a:spcPct val="0"/>
      </a:spcBef>
      <a:spcAft>
        <a:spcPct val="0"/>
      </a:spcAft>
      <a:defRPr sz="2400" kern="1200">
        <a:solidFill>
          <a:srgbClr val="000000"/>
        </a:solidFill>
        <a:latin typeface="Avenir Book" charset="0"/>
        <a:ea typeface="Avenir Book" charset="0"/>
        <a:cs typeface="Avenir Book" charset="0"/>
        <a:sym typeface="Avenir Book"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828800" y="4260850"/>
            <a:ext cx="20726400" cy="2940050"/>
          </a:xfrm>
        </p:spPr>
        <p:txBody>
          <a:bodyPr/>
          <a:lstStyle/>
          <a:p>
            <a:r>
              <a:rPr lang="en-US" smtClean="0"/>
              <a:t>Click to edit Master title style</a:t>
            </a:r>
            <a:endParaRPr lang="en-US"/>
          </a:p>
        </p:txBody>
      </p:sp>
      <p:sp>
        <p:nvSpPr>
          <p:cNvPr id="3" name="Subtitle 2"/>
          <p:cNvSpPr>
            <a:spLocks noGrp="1"/>
          </p:cNvSpPr>
          <p:nvPr>
            <p:ph type="subTitle" idx="1"/>
          </p:nvPr>
        </p:nvSpPr>
        <p:spPr>
          <a:xfrm>
            <a:off x="3657600" y="7772400"/>
            <a:ext cx="17068800" cy="35052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746414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4657589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8553113" y="698500"/>
            <a:ext cx="5619750" cy="109934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689100" y="698500"/>
            <a:ext cx="16711613" cy="109934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5007599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Segue / Significant Phrase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1736042"/>
      </p:ext>
    </p:extLst>
  </p:cSld>
  <p:clrMapOvr>
    <a:masterClrMapping/>
  </p:clrMapOvr>
  <p:transition xmlns:p14="http://schemas.microsoft.com/office/powerpoint/2010/mai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Title - Top">
    <p:spTree>
      <p:nvGrpSpPr>
        <p:cNvPr id="1" name=""/>
        <p:cNvGrpSpPr/>
        <p:nvPr/>
      </p:nvGrpSpPr>
      <p:grpSpPr>
        <a:xfrm>
          <a:off x="0" y="0"/>
          <a:ext cx="0" cy="0"/>
          <a:chOff x="0" y="0"/>
          <a:chExt cx="0" cy="0"/>
        </a:xfrm>
      </p:grpSpPr>
      <p:sp>
        <p:nvSpPr>
          <p:cNvPr id="19" name="Shape 19"/>
          <p:cNvSpPr>
            <a:spLocks noGrp="1"/>
          </p:cNvSpPr>
          <p:nvPr>
            <p:ph type="title"/>
          </p:nvPr>
        </p:nvSpPr>
        <p:spPr>
          <a:prstGeom prst="rect">
            <a:avLst/>
          </a:prstGeom>
        </p:spPr>
        <p:txBody>
          <a:bodyPr/>
          <a:lstStyle/>
          <a:p>
            <a:pPr lvl="0">
              <a:defRPr sz="1800" spc="0">
                <a:solidFill>
                  <a:srgbClr val="000000"/>
                </a:solidFill>
              </a:defRPr>
            </a:pPr>
            <a:r>
              <a:rPr sz="7000" spc="-209">
                <a:solidFill>
                  <a:srgbClr val="0081BA"/>
                </a:solidFill>
              </a:rPr>
              <a:t>Title Text</a:t>
            </a:r>
          </a:p>
        </p:txBody>
      </p:sp>
    </p:spTree>
    <p:extLst>
      <p:ext uri="{BB962C8B-B14F-4D97-AF65-F5344CB8AC3E}">
        <p14:creationId xmlns:p14="http://schemas.microsoft.com/office/powerpoint/2010/main" val="2834883907"/>
      </p:ext>
    </p:extLst>
  </p:cSld>
  <p:clrMapOvr>
    <a:masterClrMapping/>
  </p:clrMapOvr>
  <p:transition xmlns:p14="http://schemas.microsoft.com/office/powerpoint/2010/main" spd="med"/>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2_Title Slide">
    <p:spTree>
      <p:nvGrpSpPr>
        <p:cNvPr id="1" name="Shape 9"/>
        <p:cNvGrpSpPr/>
        <p:nvPr/>
      </p:nvGrpSpPr>
      <p:grpSpPr>
        <a:xfrm>
          <a:off x="0" y="0"/>
          <a:ext cx="0" cy="0"/>
          <a:chOff x="0" y="0"/>
          <a:chExt cx="0" cy="0"/>
        </a:xfrm>
      </p:grpSpPr>
      <p:sp>
        <p:nvSpPr>
          <p:cNvPr id="10" name="Shape 10"/>
          <p:cNvSpPr txBox="1">
            <a:spLocks noGrp="1"/>
          </p:cNvSpPr>
          <p:nvPr>
            <p:ph type="ctrTitle" hasCustomPrompt="1"/>
          </p:nvPr>
        </p:nvSpPr>
        <p:spPr>
          <a:xfrm>
            <a:off x="2176235" y="2709307"/>
            <a:ext cx="21010016" cy="3839984"/>
          </a:xfrm>
          <a:prstGeom prst="rect">
            <a:avLst/>
          </a:prstGeom>
          <a:noFill/>
          <a:ln>
            <a:noFill/>
          </a:ln>
        </p:spPr>
        <p:txBody>
          <a:bodyPr lIns="243794" tIns="243794" rIns="243794" bIns="243794" anchor="t" anchorCtr="0"/>
          <a:lstStyle>
            <a:lvl1pPr marL="0" marR="0" indent="0" algn="r" rtl="0">
              <a:spcBef>
                <a:spcPts val="0"/>
              </a:spcBef>
              <a:buClr>
                <a:schemeClr val="lt2"/>
              </a:buClr>
              <a:buFont typeface="Open Sans"/>
              <a:buNone/>
              <a:defRPr sz="10700" b="1" i="0" baseline="0">
                <a:solidFill>
                  <a:schemeClr val="bg1"/>
                </a:solidFill>
                <a:latin typeface="+mj-lt"/>
                <a:cs typeface="Proxima Nova"/>
              </a:defRPr>
            </a:lvl1pPr>
            <a:lvl2pPr marL="0" marR="0" indent="0" algn="l" rtl="0">
              <a:spcBef>
                <a:spcPts val="0"/>
              </a:spcBef>
              <a:defRPr/>
            </a:lvl2pPr>
            <a:lvl3pPr marL="0" marR="0" indent="0" algn="l" rtl="0">
              <a:spcBef>
                <a:spcPts val="0"/>
              </a:spcBef>
              <a:defRPr/>
            </a:lvl3pPr>
            <a:lvl4pPr marL="0" marR="0" indent="0" algn="l" rtl="0">
              <a:spcBef>
                <a:spcPts val="0"/>
              </a:spcBef>
              <a:defRPr/>
            </a:lvl4pPr>
            <a:lvl5pPr marL="0" marR="0" indent="0" algn="l" rtl="0">
              <a:spcBef>
                <a:spcPts val="0"/>
              </a:spcBef>
              <a:defRPr/>
            </a:lvl5pPr>
            <a:lvl6pPr marL="0" marR="0" indent="0" algn="l" rtl="0">
              <a:spcBef>
                <a:spcPts val="0"/>
              </a:spcBef>
              <a:defRPr/>
            </a:lvl6pPr>
            <a:lvl7pPr marL="0" marR="0" indent="0" algn="l" rtl="0">
              <a:spcBef>
                <a:spcPts val="0"/>
              </a:spcBef>
              <a:defRPr/>
            </a:lvl7pPr>
            <a:lvl8pPr marL="0" marR="0" indent="0" algn="l" rtl="0">
              <a:spcBef>
                <a:spcPts val="0"/>
              </a:spcBef>
              <a:defRPr/>
            </a:lvl8pPr>
            <a:lvl9pPr marL="0" marR="0" indent="0" algn="l" rtl="0">
              <a:spcBef>
                <a:spcPts val="0"/>
              </a:spcBef>
              <a:defRPr/>
            </a:lvl9pPr>
          </a:lstStyle>
          <a:p>
            <a:r>
              <a:rPr lang="en-US" dirty="0" smtClean="0"/>
              <a:t>Optimizely PowerPoint Template</a:t>
            </a:r>
            <a:endParaRPr dirty="0"/>
          </a:p>
        </p:txBody>
      </p:sp>
      <p:sp>
        <p:nvSpPr>
          <p:cNvPr id="11" name="Shape 11"/>
          <p:cNvSpPr txBox="1">
            <a:spLocks noGrp="1"/>
          </p:cNvSpPr>
          <p:nvPr>
            <p:ph type="subTitle" idx="1" hasCustomPrompt="1"/>
          </p:nvPr>
        </p:nvSpPr>
        <p:spPr>
          <a:xfrm>
            <a:off x="4131425" y="4963309"/>
            <a:ext cx="19054824" cy="902811"/>
          </a:xfrm>
          <a:prstGeom prst="rect">
            <a:avLst/>
          </a:prstGeom>
          <a:noFill/>
          <a:ln>
            <a:noFill/>
          </a:ln>
        </p:spPr>
        <p:txBody>
          <a:bodyPr lIns="243794" tIns="243794" rIns="243794" bIns="243794" anchor="ctr" anchorCtr="0"/>
          <a:lstStyle>
            <a:lvl1pPr marL="0" marR="0" indent="0" algn="r" rtl="0">
              <a:spcBef>
                <a:spcPts val="1067"/>
              </a:spcBef>
              <a:buClr>
                <a:schemeClr val="accent1"/>
              </a:buClr>
              <a:buFont typeface="Arial"/>
              <a:buNone/>
              <a:defRPr sz="5300" b="1" baseline="0">
                <a:solidFill>
                  <a:schemeClr val="accent6">
                    <a:lumMod val="60000"/>
                    <a:lumOff val="40000"/>
                  </a:schemeClr>
                </a:solidFill>
                <a:latin typeface="+mn-lt"/>
                <a:cs typeface="Proxima Nova"/>
              </a:defRPr>
            </a:lvl1pPr>
            <a:lvl2pPr marL="1219170" marR="0" indent="0" algn="ctr" rtl="0">
              <a:spcBef>
                <a:spcPts val="1493"/>
              </a:spcBef>
              <a:buClr>
                <a:schemeClr val="accent1"/>
              </a:buClr>
              <a:buFont typeface="Arial"/>
              <a:buNone/>
              <a:defRPr/>
            </a:lvl2pPr>
            <a:lvl3pPr marL="2438339" marR="0" indent="0" algn="ctr" rtl="0">
              <a:spcBef>
                <a:spcPts val="1280"/>
              </a:spcBef>
              <a:buClr>
                <a:schemeClr val="accent1"/>
              </a:buClr>
              <a:buFont typeface="Arial"/>
              <a:buNone/>
              <a:defRPr/>
            </a:lvl3pPr>
            <a:lvl4pPr marL="3657509" marR="0" indent="0" algn="ctr" rtl="0">
              <a:spcBef>
                <a:spcPts val="1067"/>
              </a:spcBef>
              <a:buClr>
                <a:schemeClr val="accent1"/>
              </a:buClr>
              <a:buFont typeface="Arial"/>
              <a:buNone/>
              <a:defRPr/>
            </a:lvl4pPr>
            <a:lvl5pPr marL="4876678" marR="0" indent="0" algn="ctr" rtl="0">
              <a:spcBef>
                <a:spcPts val="1067"/>
              </a:spcBef>
              <a:buClr>
                <a:schemeClr val="accent1"/>
              </a:buClr>
              <a:buFont typeface="Arial"/>
              <a:buNone/>
              <a:defRPr/>
            </a:lvl5pPr>
            <a:lvl6pPr marL="6095848" marR="0" indent="0" algn="ctr" rtl="0">
              <a:spcBef>
                <a:spcPts val="1067"/>
              </a:spcBef>
              <a:buClr>
                <a:srgbClr val="888888"/>
              </a:buClr>
              <a:buFont typeface="Arial"/>
              <a:buNone/>
              <a:defRPr/>
            </a:lvl6pPr>
            <a:lvl7pPr marL="7315017" marR="0" indent="0" algn="ctr" rtl="0">
              <a:spcBef>
                <a:spcPts val="1067"/>
              </a:spcBef>
              <a:buClr>
                <a:srgbClr val="888888"/>
              </a:buClr>
              <a:buFont typeface="Arial"/>
              <a:buNone/>
              <a:defRPr/>
            </a:lvl7pPr>
            <a:lvl8pPr marL="8534187" marR="0" indent="0" algn="ctr" rtl="0">
              <a:spcBef>
                <a:spcPts val="1067"/>
              </a:spcBef>
              <a:buClr>
                <a:srgbClr val="888888"/>
              </a:buClr>
              <a:buFont typeface="Arial"/>
              <a:buNone/>
              <a:defRPr/>
            </a:lvl8pPr>
            <a:lvl9pPr marL="9753356" marR="0" indent="0" algn="ctr" rtl="0">
              <a:spcBef>
                <a:spcPts val="1067"/>
              </a:spcBef>
              <a:buClr>
                <a:srgbClr val="888888"/>
              </a:buClr>
              <a:buFont typeface="Arial"/>
              <a:buNone/>
              <a:defRPr/>
            </a:lvl9pPr>
          </a:lstStyle>
          <a:p>
            <a:r>
              <a:rPr lang="en-US" dirty="0" smtClean="0"/>
              <a:t>August 2015</a:t>
            </a:r>
            <a:endParaRPr dirty="0"/>
          </a:p>
        </p:txBody>
      </p:sp>
      <p:sp>
        <p:nvSpPr>
          <p:cNvPr id="12" name="Shape 12"/>
          <p:cNvSpPr txBox="1">
            <a:spLocks noGrp="1"/>
          </p:cNvSpPr>
          <p:nvPr>
            <p:ph type="body" idx="2" hasCustomPrompt="1"/>
          </p:nvPr>
        </p:nvSpPr>
        <p:spPr>
          <a:xfrm>
            <a:off x="12128500" y="10853276"/>
            <a:ext cx="11057747" cy="1000072"/>
          </a:xfrm>
          <a:prstGeom prst="rect">
            <a:avLst/>
          </a:prstGeom>
          <a:noFill/>
          <a:ln>
            <a:noFill/>
          </a:ln>
        </p:spPr>
        <p:txBody>
          <a:bodyPr lIns="243794" tIns="243794" rIns="243794" bIns="243794" anchor="t" anchorCtr="0"/>
          <a:lstStyle>
            <a:lvl1pPr marL="0" indent="0" algn="r" rtl="0">
              <a:spcBef>
                <a:spcPts val="0"/>
              </a:spcBef>
              <a:buClr>
                <a:srgbClr val="F8F8F8"/>
              </a:buClr>
              <a:buFont typeface="Open Sans"/>
              <a:buNone/>
              <a:defRPr baseline="0">
                <a:solidFill>
                  <a:schemeClr val="accent6">
                    <a:lumMod val="60000"/>
                    <a:lumOff val="40000"/>
                  </a:schemeClr>
                </a:solidFill>
                <a:latin typeface="+mn-lt"/>
                <a:cs typeface="Proxima Nova"/>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r>
              <a:rPr lang="en-US" dirty="0" smtClean="0"/>
              <a:t>Employee Role</a:t>
            </a:r>
            <a:endParaRPr dirty="0"/>
          </a:p>
        </p:txBody>
      </p:sp>
      <p:sp>
        <p:nvSpPr>
          <p:cNvPr id="13" name="Shape 13"/>
          <p:cNvSpPr txBox="1">
            <a:spLocks noGrp="1"/>
          </p:cNvSpPr>
          <p:nvPr>
            <p:ph type="body" idx="3" hasCustomPrompt="1"/>
          </p:nvPr>
        </p:nvSpPr>
        <p:spPr>
          <a:xfrm>
            <a:off x="12128500" y="11595100"/>
            <a:ext cx="11057747" cy="1000072"/>
          </a:xfrm>
          <a:prstGeom prst="rect">
            <a:avLst/>
          </a:prstGeom>
          <a:noFill/>
          <a:ln>
            <a:noFill/>
          </a:ln>
        </p:spPr>
        <p:txBody>
          <a:bodyPr lIns="243794" tIns="243794" rIns="243794" bIns="243794" anchor="t" anchorCtr="0"/>
          <a:lstStyle>
            <a:lvl1pPr marL="0" indent="0" algn="r" rtl="0">
              <a:spcBef>
                <a:spcPts val="0"/>
              </a:spcBef>
              <a:buClr>
                <a:srgbClr val="92E1FF"/>
              </a:buClr>
              <a:buFont typeface="Open Sans"/>
              <a:buNone/>
              <a:defRPr sz="3700" baseline="0">
                <a:solidFill>
                  <a:schemeClr val="accent6">
                    <a:lumMod val="60000"/>
                    <a:lumOff val="40000"/>
                  </a:schemeClr>
                </a:solidFill>
                <a:latin typeface="+mn-lt"/>
                <a:cs typeface="Proxima Nova"/>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r>
              <a:rPr lang="en-US" dirty="0" smtClean="0"/>
              <a:t>Email or twitter handle</a:t>
            </a:r>
            <a:endParaRPr dirty="0"/>
          </a:p>
        </p:txBody>
      </p:sp>
      <p:sp>
        <p:nvSpPr>
          <p:cNvPr id="14" name="Shape 14"/>
          <p:cNvSpPr txBox="1">
            <a:spLocks noGrp="1"/>
          </p:cNvSpPr>
          <p:nvPr>
            <p:ph type="body" idx="4" hasCustomPrompt="1"/>
          </p:nvPr>
        </p:nvSpPr>
        <p:spPr>
          <a:xfrm>
            <a:off x="12128500" y="10056415"/>
            <a:ext cx="11057747" cy="1000072"/>
          </a:xfrm>
          <a:prstGeom prst="rect">
            <a:avLst/>
          </a:prstGeom>
          <a:noFill/>
          <a:ln>
            <a:noFill/>
          </a:ln>
        </p:spPr>
        <p:txBody>
          <a:bodyPr lIns="243794" tIns="243794" rIns="243794" bIns="243794" anchor="t" anchorCtr="0"/>
          <a:lstStyle>
            <a:lvl1pPr marL="0" indent="0" algn="r" rtl="0">
              <a:spcBef>
                <a:spcPts val="0"/>
              </a:spcBef>
              <a:buClr>
                <a:schemeClr val="lt2"/>
              </a:buClr>
              <a:buFont typeface="Open Sans"/>
              <a:buNone/>
              <a:defRPr b="1" baseline="0">
                <a:solidFill>
                  <a:schemeClr val="bg1"/>
                </a:solidFill>
                <a:latin typeface="+mn-lt"/>
                <a:cs typeface="Proxima Nova"/>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r>
              <a:rPr lang="en-US" dirty="0" smtClean="0"/>
              <a:t>Employee Name</a:t>
            </a:r>
            <a:endParaRPr dirty="0"/>
          </a:p>
        </p:txBody>
      </p:sp>
      <p:pic>
        <p:nvPicPr>
          <p:cNvPr id="8" name="Picture 7"/>
          <p:cNvPicPr>
            <a:picLocks noChangeAspect="1"/>
          </p:cNvPicPr>
          <p:nvPr userDrawn="1"/>
        </p:nvPicPr>
        <p:blipFill>
          <a:blip r:embed="rId2">
            <a:alphaModFix amt="20000"/>
            <a:extLst>
              <a:ext uri="{28A0092B-C50C-407E-A947-70E740481C1C}">
                <a14:useLocalDpi xmlns:a14="http://schemas.microsoft.com/office/drawing/2010/main" val="0"/>
              </a:ext>
            </a:extLst>
          </a:blip>
          <a:stretch>
            <a:fillRect/>
          </a:stretch>
        </p:blipFill>
        <p:spPr>
          <a:xfrm>
            <a:off x="1072859" y="11667429"/>
            <a:ext cx="5439963" cy="1167248"/>
          </a:xfrm>
          <a:prstGeom prst="rect">
            <a:avLst/>
          </a:prstGeom>
        </p:spPr>
      </p:pic>
    </p:spTree>
    <p:extLst>
      <p:ext uri="{BB962C8B-B14F-4D97-AF65-F5344CB8AC3E}">
        <p14:creationId xmlns:p14="http://schemas.microsoft.com/office/powerpoint/2010/main" val="25472686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828800" y="4260850"/>
            <a:ext cx="20726400" cy="2940050"/>
          </a:xfrm>
          <a:prstGeom prst="rect">
            <a:avLst/>
          </a:prstGeom>
        </p:spPr>
        <p:txBody>
          <a:bodyPr vert="horz"/>
          <a:lstStyle/>
          <a:p>
            <a:r>
              <a:rPr lang="en-US" smtClean="0"/>
              <a:t>Click to edit Master title style</a:t>
            </a:r>
            <a:endParaRPr lang="en-US"/>
          </a:p>
        </p:txBody>
      </p:sp>
      <p:sp>
        <p:nvSpPr>
          <p:cNvPr id="3" name="Subtitle 2"/>
          <p:cNvSpPr>
            <a:spLocks noGrp="1"/>
          </p:cNvSpPr>
          <p:nvPr>
            <p:ph type="subTitle" idx="1"/>
          </p:nvPr>
        </p:nvSpPr>
        <p:spPr>
          <a:xfrm>
            <a:off x="3657600" y="7772400"/>
            <a:ext cx="17068800" cy="3505200"/>
          </a:xfrm>
          <a:prstGeom prst="rect">
            <a:avLst/>
          </a:prstGeom>
        </p:spPr>
        <p:txBody>
          <a:bodyPr vert="horz"/>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23171268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0" y="549275"/>
            <a:ext cx="21945600" cy="2286000"/>
          </a:xfrm>
          <a:prstGeom prst="rect">
            <a:avLst/>
          </a:prstGeom>
        </p:spPr>
        <p:txBody>
          <a:bodyPr vert="horz"/>
          <a:lstStyle/>
          <a:p>
            <a:r>
              <a:rPr lang="en-US" smtClean="0"/>
              <a:t>Click to edit Master title style</a:t>
            </a:r>
            <a:endParaRPr lang="en-US"/>
          </a:p>
        </p:txBody>
      </p:sp>
      <p:sp>
        <p:nvSpPr>
          <p:cNvPr id="3" name="Content Placeholder 2"/>
          <p:cNvSpPr>
            <a:spLocks noGrp="1"/>
          </p:cNvSpPr>
          <p:nvPr>
            <p:ph idx="1"/>
          </p:nvPr>
        </p:nvSpPr>
        <p:spPr>
          <a:xfrm>
            <a:off x="1219200" y="3200400"/>
            <a:ext cx="21945600" cy="9051925"/>
          </a:xfrm>
          <a:prstGeom prst="rect">
            <a:avLst/>
          </a:prstGeom>
        </p:spPr>
        <p:txBody>
          <a:bodyPr vert="horz"/>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239920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925638" y="8813800"/>
            <a:ext cx="20726400" cy="2724150"/>
          </a:xfrm>
          <a:prstGeom prst="rect">
            <a:avLst/>
          </a:prstGeom>
        </p:spPr>
        <p:txBody>
          <a:bodyPr vert="horz"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1925638" y="5813425"/>
            <a:ext cx="20726400" cy="3000375"/>
          </a:xfrm>
          <a:prstGeom prst="rect">
            <a:avLst/>
          </a:prstGeom>
        </p:spPr>
        <p:txBody>
          <a:bodyPr vert="horz"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6743988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0" y="549275"/>
            <a:ext cx="21945600" cy="2286000"/>
          </a:xfrm>
          <a:prstGeom prst="rect">
            <a:avLst/>
          </a:prstGeom>
        </p:spPr>
        <p:txBody>
          <a:bodyPr vert="horz"/>
          <a:lstStyle/>
          <a:p>
            <a:r>
              <a:rPr lang="en-US" smtClean="0"/>
              <a:t>Click to edit Master title style</a:t>
            </a:r>
            <a:endParaRPr lang="en-US"/>
          </a:p>
        </p:txBody>
      </p:sp>
      <p:sp>
        <p:nvSpPr>
          <p:cNvPr id="3" name="Content Placeholder 2"/>
          <p:cNvSpPr>
            <a:spLocks noGrp="1"/>
          </p:cNvSpPr>
          <p:nvPr>
            <p:ph sz="half" idx="1"/>
          </p:nvPr>
        </p:nvSpPr>
        <p:spPr>
          <a:xfrm>
            <a:off x="1219200" y="3200400"/>
            <a:ext cx="10896600" cy="9051925"/>
          </a:xfrm>
          <a:prstGeom prst="rect">
            <a:avLst/>
          </a:prstGeom>
        </p:spPr>
        <p:txBody>
          <a:bodyPr vert="horz"/>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12268200" y="3200400"/>
            <a:ext cx="10896600" cy="9051925"/>
          </a:xfrm>
          <a:prstGeom prst="rect">
            <a:avLst/>
          </a:prstGeom>
        </p:spPr>
        <p:txBody>
          <a:bodyPr vert="horz"/>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696552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19200" y="549275"/>
            <a:ext cx="21945600" cy="2286000"/>
          </a:xfrm>
          <a:prstGeom prst="rect">
            <a:avLst/>
          </a:prstGeom>
        </p:spPr>
        <p:txBody>
          <a:bodyPr vert="horz"/>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1219200" y="3070225"/>
            <a:ext cx="10774363" cy="1279525"/>
          </a:xfrm>
          <a:prstGeom prst="rect">
            <a:avLst/>
          </a:prstGeom>
        </p:spPr>
        <p:txBody>
          <a:bodyPr vert="horz"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219200" y="4349750"/>
            <a:ext cx="10774363" cy="7902575"/>
          </a:xfrm>
          <a:prstGeom prst="rect">
            <a:avLst/>
          </a:prstGeom>
        </p:spPr>
        <p:txBody>
          <a:bodyPr vert="horz"/>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12387263" y="3070225"/>
            <a:ext cx="10777537" cy="1279525"/>
          </a:xfrm>
          <a:prstGeom prst="rect">
            <a:avLst/>
          </a:prstGeom>
        </p:spPr>
        <p:txBody>
          <a:bodyPr vert="horz"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12387263" y="4349750"/>
            <a:ext cx="10777537" cy="7902575"/>
          </a:xfrm>
          <a:prstGeom prst="rect">
            <a:avLst/>
          </a:prstGeom>
        </p:spPr>
        <p:txBody>
          <a:bodyPr vert="horz"/>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884318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803266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549275"/>
            <a:ext cx="21945600" cy="2286000"/>
          </a:xfrm>
          <a:prstGeom prst="rect">
            <a:avLst/>
          </a:prstGeom>
        </p:spPr>
        <p:txBody>
          <a:bodyPr vert="horz"/>
          <a:lstStyle/>
          <a:p>
            <a:r>
              <a:rPr lang="en-US" smtClean="0"/>
              <a:t>Click to edit Master title style</a:t>
            </a:r>
            <a:endParaRPr lang="en-US"/>
          </a:p>
        </p:txBody>
      </p:sp>
    </p:spTree>
    <p:extLst>
      <p:ext uri="{BB962C8B-B14F-4D97-AF65-F5344CB8AC3E}">
        <p14:creationId xmlns:p14="http://schemas.microsoft.com/office/powerpoint/2010/main" val="10444917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94111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19200" y="546100"/>
            <a:ext cx="8021638" cy="2324100"/>
          </a:xfrm>
          <a:prstGeom prst="rect">
            <a:avLst/>
          </a:prstGeom>
        </p:spPr>
        <p:txBody>
          <a:bodyPr vert="horz"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9532938" y="546100"/>
            <a:ext cx="13631862" cy="11706225"/>
          </a:xfrm>
          <a:prstGeom prst="rect">
            <a:avLst/>
          </a:prstGeom>
        </p:spPr>
        <p:txBody>
          <a:bodyPr vert="horz"/>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1219200" y="2870200"/>
            <a:ext cx="8021638" cy="9382125"/>
          </a:xfrm>
          <a:prstGeom prst="rect">
            <a:avLst/>
          </a:prstGeom>
        </p:spPr>
        <p:txBody>
          <a:bodyPr vert="horz"/>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1849469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79963" y="9601200"/>
            <a:ext cx="14630400" cy="1133475"/>
          </a:xfrm>
          <a:prstGeom prst="rect">
            <a:avLst/>
          </a:prstGeom>
        </p:spPr>
        <p:txBody>
          <a:bodyPr vert="horz"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4779963" y="1225550"/>
            <a:ext cx="14630400" cy="8229600"/>
          </a:xfrm>
          <a:prstGeom prst="rect">
            <a:avLst/>
          </a:prstGeom>
        </p:spPr>
        <p:txBody>
          <a:bodyPr vert="horz"/>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sym typeface="Verdana" charset="0"/>
            </a:endParaRPr>
          </a:p>
        </p:txBody>
      </p:sp>
      <p:sp>
        <p:nvSpPr>
          <p:cNvPr id="4" name="Text Placeholder 3"/>
          <p:cNvSpPr>
            <a:spLocks noGrp="1"/>
          </p:cNvSpPr>
          <p:nvPr>
            <p:ph type="body" sz="half" idx="2"/>
          </p:nvPr>
        </p:nvSpPr>
        <p:spPr>
          <a:xfrm>
            <a:off x="4779963" y="10734675"/>
            <a:ext cx="14630400" cy="1609725"/>
          </a:xfrm>
          <a:prstGeom prst="rect">
            <a:avLst/>
          </a:prstGeom>
        </p:spPr>
        <p:txBody>
          <a:bodyPr vert="horz"/>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0305113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219200" y="549275"/>
            <a:ext cx="21945600" cy="2286000"/>
          </a:xfrm>
          <a:prstGeom prst="rect">
            <a:avLst/>
          </a:prstGeom>
        </p:spPr>
        <p:txBody>
          <a:bodyPr vert="horz"/>
          <a:lstStyle/>
          <a:p>
            <a:r>
              <a:rPr lang="en-US" smtClean="0"/>
              <a:t>Click to edit Master title style</a:t>
            </a:r>
            <a:endParaRPr lang="en-US"/>
          </a:p>
        </p:txBody>
      </p:sp>
      <p:sp>
        <p:nvSpPr>
          <p:cNvPr id="3" name="Vertical Text Placeholder 2"/>
          <p:cNvSpPr>
            <a:spLocks noGrp="1"/>
          </p:cNvSpPr>
          <p:nvPr>
            <p:ph type="body" orient="vert" idx="1"/>
          </p:nvPr>
        </p:nvSpPr>
        <p:spPr>
          <a:xfrm>
            <a:off x="1219200" y="3200400"/>
            <a:ext cx="21945600" cy="90519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382760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7678400" y="549275"/>
            <a:ext cx="5486400" cy="11703050"/>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219200" y="549275"/>
            <a:ext cx="16306800" cy="11703050"/>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217269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x">
  <p:cSld name="Segue / Significant Phrase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1736042"/>
      </p:ext>
    </p:extLst>
  </p:cSld>
  <p:clrMapOvr>
    <a:masterClrMapping/>
  </p:clrMapOvr>
  <p:transition xmlns:p14="http://schemas.microsoft.com/office/powerpoint/2010/main" spd="med"/>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828800" y="4260850"/>
            <a:ext cx="20726400" cy="2940050"/>
          </a:xfrm>
          <a:prstGeom prst="rect">
            <a:avLst/>
          </a:prstGeom>
        </p:spPr>
        <p:txBody>
          <a:bodyPr vert="horz"/>
          <a:lstStyle/>
          <a:p>
            <a:r>
              <a:rPr lang="en-US" smtClean="0"/>
              <a:t>Click to edit Master title style</a:t>
            </a:r>
            <a:endParaRPr lang="en-US"/>
          </a:p>
        </p:txBody>
      </p:sp>
      <p:sp>
        <p:nvSpPr>
          <p:cNvPr id="3" name="Subtitle 2"/>
          <p:cNvSpPr>
            <a:spLocks noGrp="1"/>
          </p:cNvSpPr>
          <p:nvPr>
            <p:ph type="subTitle" idx="1"/>
          </p:nvPr>
        </p:nvSpPr>
        <p:spPr>
          <a:xfrm>
            <a:off x="3657600" y="7772400"/>
            <a:ext cx="17068800" cy="3505200"/>
          </a:xfrm>
          <a:prstGeom prst="rect">
            <a:avLst/>
          </a:prstGeom>
        </p:spPr>
        <p:txBody>
          <a:bodyPr vert="horz"/>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7893978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0" y="549275"/>
            <a:ext cx="21945600" cy="2286000"/>
          </a:xfrm>
          <a:prstGeom prst="rect">
            <a:avLst/>
          </a:prstGeom>
        </p:spPr>
        <p:txBody>
          <a:bodyPr vert="horz"/>
          <a:lstStyle/>
          <a:p>
            <a:r>
              <a:rPr lang="en-US" smtClean="0"/>
              <a:t>Click to edit Master title style</a:t>
            </a:r>
            <a:endParaRPr lang="en-US"/>
          </a:p>
        </p:txBody>
      </p:sp>
      <p:sp>
        <p:nvSpPr>
          <p:cNvPr id="3" name="Content Placeholder 2"/>
          <p:cNvSpPr>
            <a:spLocks noGrp="1"/>
          </p:cNvSpPr>
          <p:nvPr>
            <p:ph idx="1"/>
          </p:nvPr>
        </p:nvSpPr>
        <p:spPr>
          <a:xfrm>
            <a:off x="1219200" y="3200400"/>
            <a:ext cx="21945600" cy="9051925"/>
          </a:xfrm>
          <a:prstGeom prst="rect">
            <a:avLst/>
          </a:prstGeom>
        </p:spPr>
        <p:txBody>
          <a:bodyPr vert="horz"/>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6727887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925638" y="8813800"/>
            <a:ext cx="20726400" cy="2724150"/>
          </a:xfrm>
          <a:prstGeom prst="rect">
            <a:avLst/>
          </a:prstGeom>
        </p:spPr>
        <p:txBody>
          <a:bodyPr vert="horz"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1925638" y="5813425"/>
            <a:ext cx="20726400" cy="3000375"/>
          </a:xfrm>
          <a:prstGeom prst="rect">
            <a:avLst/>
          </a:prstGeom>
        </p:spPr>
        <p:txBody>
          <a:bodyPr vert="horz"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1420107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925638" y="8813800"/>
            <a:ext cx="20726400" cy="2724150"/>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1925638" y="5813425"/>
            <a:ext cx="20726400" cy="3000375"/>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6400350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0" y="549275"/>
            <a:ext cx="21945600" cy="2286000"/>
          </a:xfrm>
          <a:prstGeom prst="rect">
            <a:avLst/>
          </a:prstGeom>
        </p:spPr>
        <p:txBody>
          <a:bodyPr vert="horz"/>
          <a:lstStyle/>
          <a:p>
            <a:r>
              <a:rPr lang="en-US" smtClean="0"/>
              <a:t>Click to edit Master title style</a:t>
            </a:r>
            <a:endParaRPr lang="en-US"/>
          </a:p>
        </p:txBody>
      </p:sp>
      <p:sp>
        <p:nvSpPr>
          <p:cNvPr id="3" name="Content Placeholder 2"/>
          <p:cNvSpPr>
            <a:spLocks noGrp="1"/>
          </p:cNvSpPr>
          <p:nvPr>
            <p:ph sz="half" idx="1"/>
          </p:nvPr>
        </p:nvSpPr>
        <p:spPr>
          <a:xfrm>
            <a:off x="1219200" y="3200400"/>
            <a:ext cx="10896600" cy="9051925"/>
          </a:xfrm>
          <a:prstGeom prst="rect">
            <a:avLst/>
          </a:prstGeom>
        </p:spPr>
        <p:txBody>
          <a:bodyPr vert="horz"/>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12268200" y="3200400"/>
            <a:ext cx="10896600" cy="9051925"/>
          </a:xfrm>
          <a:prstGeom prst="rect">
            <a:avLst/>
          </a:prstGeom>
        </p:spPr>
        <p:txBody>
          <a:bodyPr vert="horz"/>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4319668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19200" y="549275"/>
            <a:ext cx="21945600" cy="2286000"/>
          </a:xfrm>
          <a:prstGeom prst="rect">
            <a:avLst/>
          </a:prstGeom>
        </p:spPr>
        <p:txBody>
          <a:bodyPr vert="horz"/>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1219200" y="3070225"/>
            <a:ext cx="10774363" cy="1279525"/>
          </a:xfrm>
          <a:prstGeom prst="rect">
            <a:avLst/>
          </a:prstGeom>
        </p:spPr>
        <p:txBody>
          <a:bodyPr vert="horz"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219200" y="4349750"/>
            <a:ext cx="10774363" cy="7902575"/>
          </a:xfrm>
          <a:prstGeom prst="rect">
            <a:avLst/>
          </a:prstGeom>
        </p:spPr>
        <p:txBody>
          <a:bodyPr vert="horz"/>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12387263" y="3070225"/>
            <a:ext cx="10777537" cy="1279525"/>
          </a:xfrm>
          <a:prstGeom prst="rect">
            <a:avLst/>
          </a:prstGeom>
        </p:spPr>
        <p:txBody>
          <a:bodyPr vert="horz"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12387263" y="4349750"/>
            <a:ext cx="10777537" cy="7902575"/>
          </a:xfrm>
          <a:prstGeom prst="rect">
            <a:avLst/>
          </a:prstGeom>
        </p:spPr>
        <p:txBody>
          <a:bodyPr vert="horz"/>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04572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549275"/>
            <a:ext cx="21945600" cy="2286000"/>
          </a:xfrm>
          <a:prstGeom prst="rect">
            <a:avLst/>
          </a:prstGeom>
        </p:spPr>
        <p:txBody>
          <a:bodyPr vert="horz"/>
          <a:lstStyle/>
          <a:p>
            <a:r>
              <a:rPr lang="en-US" smtClean="0"/>
              <a:t>Click to edit Master title style</a:t>
            </a:r>
            <a:endParaRPr lang="en-US"/>
          </a:p>
        </p:txBody>
      </p:sp>
    </p:spTree>
    <p:extLst>
      <p:ext uri="{BB962C8B-B14F-4D97-AF65-F5344CB8AC3E}">
        <p14:creationId xmlns:p14="http://schemas.microsoft.com/office/powerpoint/2010/main" val="27684899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7484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19200" y="546100"/>
            <a:ext cx="8021638" cy="2324100"/>
          </a:xfrm>
          <a:prstGeom prst="rect">
            <a:avLst/>
          </a:prstGeom>
        </p:spPr>
        <p:txBody>
          <a:bodyPr vert="horz"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9532938" y="546100"/>
            <a:ext cx="13631862" cy="11706225"/>
          </a:xfrm>
          <a:prstGeom prst="rect">
            <a:avLst/>
          </a:prstGeom>
        </p:spPr>
        <p:txBody>
          <a:bodyPr vert="horz"/>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1219200" y="2870200"/>
            <a:ext cx="8021638" cy="9382125"/>
          </a:xfrm>
          <a:prstGeom prst="rect">
            <a:avLst/>
          </a:prstGeom>
        </p:spPr>
        <p:txBody>
          <a:bodyPr vert="horz"/>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23536144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79963" y="9601200"/>
            <a:ext cx="14630400" cy="1133475"/>
          </a:xfrm>
          <a:prstGeom prst="rect">
            <a:avLst/>
          </a:prstGeom>
        </p:spPr>
        <p:txBody>
          <a:bodyPr vert="horz"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4779963" y="1225550"/>
            <a:ext cx="14630400" cy="8229600"/>
          </a:xfrm>
          <a:prstGeom prst="rect">
            <a:avLst/>
          </a:prstGeom>
        </p:spPr>
        <p:txBody>
          <a:bodyPr vert="horz"/>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sym typeface="Verdana" charset="0"/>
            </a:endParaRPr>
          </a:p>
        </p:txBody>
      </p:sp>
      <p:sp>
        <p:nvSpPr>
          <p:cNvPr id="4" name="Text Placeholder 3"/>
          <p:cNvSpPr>
            <a:spLocks noGrp="1"/>
          </p:cNvSpPr>
          <p:nvPr>
            <p:ph type="body" sz="half" idx="2"/>
          </p:nvPr>
        </p:nvSpPr>
        <p:spPr>
          <a:xfrm>
            <a:off x="4779963" y="10734675"/>
            <a:ext cx="14630400" cy="1609725"/>
          </a:xfrm>
          <a:prstGeom prst="rect">
            <a:avLst/>
          </a:prstGeom>
        </p:spPr>
        <p:txBody>
          <a:bodyPr vert="horz"/>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5713280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219200" y="549275"/>
            <a:ext cx="21945600" cy="2286000"/>
          </a:xfrm>
          <a:prstGeom prst="rect">
            <a:avLst/>
          </a:prstGeom>
        </p:spPr>
        <p:txBody>
          <a:bodyPr vert="horz"/>
          <a:lstStyle/>
          <a:p>
            <a:r>
              <a:rPr lang="en-US" smtClean="0"/>
              <a:t>Click to edit Master title style</a:t>
            </a:r>
            <a:endParaRPr lang="en-US"/>
          </a:p>
        </p:txBody>
      </p:sp>
      <p:sp>
        <p:nvSpPr>
          <p:cNvPr id="3" name="Vertical Text Placeholder 2"/>
          <p:cNvSpPr>
            <a:spLocks noGrp="1"/>
          </p:cNvSpPr>
          <p:nvPr>
            <p:ph type="body" orient="vert" idx="1"/>
          </p:nvPr>
        </p:nvSpPr>
        <p:spPr>
          <a:xfrm>
            <a:off x="1219200" y="3200400"/>
            <a:ext cx="21945600" cy="90519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2460923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7678400" y="549275"/>
            <a:ext cx="5486400" cy="11703050"/>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219200" y="549275"/>
            <a:ext cx="16306800" cy="11703050"/>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5486569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167063" y="2990850"/>
            <a:ext cx="10426700" cy="8701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13746163" y="2990850"/>
            <a:ext cx="10426700" cy="8701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6798828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19200" y="549275"/>
            <a:ext cx="21945600" cy="2286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1219200" y="3070225"/>
            <a:ext cx="10774363" cy="12795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219200" y="4349750"/>
            <a:ext cx="10774363" cy="79025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12387263" y="3070225"/>
            <a:ext cx="10777537" cy="12795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12387263" y="4349750"/>
            <a:ext cx="10777537" cy="79025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574126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14228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04080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19200" y="546100"/>
            <a:ext cx="8021638" cy="232410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9532938" y="546100"/>
            <a:ext cx="13631862" cy="117062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1219200" y="2870200"/>
            <a:ext cx="8021638" cy="938212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2190491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79963" y="9601200"/>
            <a:ext cx="14630400" cy="1133475"/>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4779963" y="1225550"/>
            <a:ext cx="14630400" cy="8229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sym typeface="Verdana" charset="0"/>
            </a:endParaRPr>
          </a:p>
        </p:txBody>
      </p:sp>
      <p:sp>
        <p:nvSpPr>
          <p:cNvPr id="4" name="Text Placeholder 3"/>
          <p:cNvSpPr>
            <a:spLocks noGrp="1"/>
          </p:cNvSpPr>
          <p:nvPr>
            <p:ph type="body" sz="half" idx="2"/>
          </p:nvPr>
        </p:nvSpPr>
        <p:spPr>
          <a:xfrm>
            <a:off x="4779963" y="10734675"/>
            <a:ext cx="14630400" cy="160972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681986336"/>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16"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5.xml"/><Relationship Id="rId12" Type="http://schemas.openxmlformats.org/officeDocument/2006/relationships/slideLayout" Target="../slideLayouts/slideLayout26.xml"/><Relationship Id="rId13" Type="http://schemas.openxmlformats.org/officeDocument/2006/relationships/theme" Target="../theme/theme2.xml"/><Relationship Id="rId14" Type="http://schemas.openxmlformats.org/officeDocument/2006/relationships/image" Target="../media/image4.png"/><Relationship Id="rId1" Type="http://schemas.openxmlformats.org/officeDocument/2006/relationships/slideLayout" Target="../slideLayouts/slideLayout15.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 Id="rId10"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37.xml"/><Relationship Id="rId12" Type="http://schemas.openxmlformats.org/officeDocument/2006/relationships/theme" Target="../theme/theme3.xml"/><Relationship Id="rId13" Type="http://schemas.openxmlformats.org/officeDocument/2006/relationships/image" Target="../media/image5.png"/><Relationship Id="rId1" Type="http://schemas.openxmlformats.org/officeDocument/2006/relationships/slideLayout" Target="../slideLayouts/slideLayout27.xml"/><Relationship Id="rId2" Type="http://schemas.openxmlformats.org/officeDocument/2006/relationships/slideLayout" Target="../slideLayouts/slideLayout28.xml"/><Relationship Id="rId3" Type="http://schemas.openxmlformats.org/officeDocument/2006/relationships/slideLayout" Target="../slideLayouts/slideLayout29.xml"/><Relationship Id="rId4" Type="http://schemas.openxmlformats.org/officeDocument/2006/relationships/slideLayout" Target="../slideLayouts/slideLayout30.xml"/><Relationship Id="rId5" Type="http://schemas.openxmlformats.org/officeDocument/2006/relationships/slideLayout" Target="../slideLayouts/slideLayout31.xml"/><Relationship Id="rId6" Type="http://schemas.openxmlformats.org/officeDocument/2006/relationships/slideLayout" Target="../slideLayouts/slideLayout32.xml"/><Relationship Id="rId7" Type="http://schemas.openxmlformats.org/officeDocument/2006/relationships/slideLayout" Target="../slideLayouts/slideLayout33.xml"/><Relationship Id="rId8" Type="http://schemas.openxmlformats.org/officeDocument/2006/relationships/slideLayout" Target="../slideLayouts/slideLayout34.xml"/><Relationship Id="rId9" Type="http://schemas.openxmlformats.org/officeDocument/2006/relationships/slideLayout" Target="../slideLayouts/slideLayout35.xml"/><Relationship Id="rId10"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solidFill>
          <a:srgbClr val="0480BA"/>
        </a:solidFill>
        <a:effectLst/>
      </p:bgPr>
    </p:bg>
    <p:spTree>
      <p:nvGrpSpPr>
        <p:cNvPr id="1" name=""/>
        <p:cNvGrpSpPr/>
        <p:nvPr/>
      </p:nvGrpSpPr>
      <p:grpSpPr>
        <a:xfrm>
          <a:off x="0" y="0"/>
          <a:ext cx="0" cy="0"/>
          <a:chOff x="0" y="0"/>
          <a:chExt cx="0" cy="0"/>
        </a:xfrm>
      </p:grpSpPr>
      <p:sp>
        <p:nvSpPr>
          <p:cNvPr id="1025" name="Rectangle 1"/>
          <p:cNvSpPr>
            <a:spLocks noGrp="1"/>
          </p:cNvSpPr>
          <p:nvPr>
            <p:ph type="body" idx="1"/>
          </p:nvPr>
        </p:nvSpPr>
        <p:spPr bwMode="auto">
          <a:xfrm>
            <a:off x="3167063" y="2990850"/>
            <a:ext cx="21005800" cy="87010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val="1"/>
            </a:ext>
          </a:extLst>
        </p:spPr>
        <p:txBody>
          <a:bodyPr vert="horz" wrap="square" lIns="0" tIns="0" rIns="0" bIns="0" numCol="1" anchor="ctr" anchorCtr="0" compatLnSpc="1">
            <a:prstTxWarp prst="textNoShape">
              <a:avLst/>
            </a:prstTxWarp>
          </a:bodyPr>
          <a:lstStyle/>
          <a:p>
            <a:pPr lvl="0"/>
            <a:r>
              <a:rPr lang="en-US" dirty="0">
                <a:sym typeface="Verdana" charset="0"/>
              </a:rPr>
              <a:t>Click to edit Master text styles</a:t>
            </a:r>
          </a:p>
          <a:p>
            <a:pPr lvl="1"/>
            <a:r>
              <a:rPr lang="en-US" dirty="0">
                <a:sym typeface="Verdana" charset="0"/>
              </a:rPr>
              <a:t>Second level</a:t>
            </a:r>
          </a:p>
          <a:p>
            <a:pPr lvl="2"/>
            <a:r>
              <a:rPr lang="en-US" dirty="0">
                <a:sym typeface="Verdana" charset="0"/>
              </a:rPr>
              <a:t>Third level</a:t>
            </a:r>
          </a:p>
          <a:p>
            <a:pPr lvl="3"/>
            <a:r>
              <a:rPr lang="en-US" dirty="0">
                <a:sym typeface="Verdana" charset="0"/>
              </a:rPr>
              <a:t>Fourth level</a:t>
            </a:r>
          </a:p>
          <a:p>
            <a:pPr lvl="4"/>
            <a:r>
              <a:rPr lang="en-US" dirty="0">
                <a:sym typeface="Verdana" charset="0"/>
              </a:rPr>
              <a:t>Fifth level</a:t>
            </a:r>
          </a:p>
        </p:txBody>
      </p:sp>
      <p:pic>
        <p:nvPicPr>
          <p:cNvPr id="1026" name="Picture 2" descr="pasted-image.pdf"/>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635000" y="12827000"/>
            <a:ext cx="2070100" cy="4429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1027" name="Rectangle 3"/>
          <p:cNvSpPr>
            <a:spLocks noGrp="1"/>
          </p:cNvSpPr>
          <p:nvPr>
            <p:ph type="title"/>
          </p:nvPr>
        </p:nvSpPr>
        <p:spPr bwMode="auto">
          <a:xfrm>
            <a:off x="1689100" y="698500"/>
            <a:ext cx="21005800" cy="22860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val="1"/>
            </a:ext>
          </a:extLst>
        </p:spPr>
        <p:txBody>
          <a:bodyPr vert="horz" wrap="square" lIns="0" tIns="0" rIns="0" bIns="0" numCol="1" anchor="ctr" anchorCtr="0" compatLnSpc="1">
            <a:prstTxWarp prst="textNoShape">
              <a:avLst/>
            </a:prstTxWarp>
          </a:bodyPr>
          <a:lstStyle/>
          <a:p>
            <a:pPr lvl="0"/>
            <a:r>
              <a:rPr lang="en-US" dirty="0">
                <a:sym typeface="Verdana" charset="0"/>
              </a:rPr>
              <a:t>Click to edit Master title style</a:t>
            </a:r>
          </a:p>
        </p:txBody>
      </p:sp>
    </p:spTree>
  </p:cSld>
  <p:clrMap bg1="lt1" tx1="dk1" bg2="lt2" tx2="dk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 id="2147483686" r:id="rId12"/>
    <p:sldLayoutId id="2147483687" r:id="rId13"/>
    <p:sldLayoutId id="2147483689" r:id="rId14"/>
  </p:sldLayoutIdLst>
  <p:txStyles>
    <p:titleStyle>
      <a:lvl1pPr algn="ctr" defTabSz="825500" rtl="0" eaLnBrk="0" fontAlgn="base" hangingPunct="0">
        <a:spcBef>
          <a:spcPct val="0"/>
        </a:spcBef>
        <a:spcAft>
          <a:spcPct val="0"/>
        </a:spcAft>
        <a:defRPr sz="7000">
          <a:solidFill>
            <a:srgbClr val="0081BA"/>
          </a:solidFill>
          <a:latin typeface="Gotham Book"/>
          <a:ea typeface="+mj-ea"/>
          <a:cs typeface="Gotham Book"/>
          <a:sym typeface="Verdana" charset="0"/>
        </a:defRPr>
      </a:lvl1pPr>
      <a:lvl2pPr algn="ctr" defTabSz="825500" rtl="0" eaLnBrk="0" fontAlgn="base" hangingPunct="0">
        <a:spcBef>
          <a:spcPct val="0"/>
        </a:spcBef>
        <a:spcAft>
          <a:spcPct val="0"/>
        </a:spcAft>
        <a:defRPr sz="7000">
          <a:solidFill>
            <a:srgbClr val="0081BA"/>
          </a:solidFill>
          <a:latin typeface="Gotham Book" charset="0"/>
          <a:ea typeface="ＭＳ Ｐゴシック" charset="0"/>
          <a:cs typeface="Verdana" charset="0"/>
          <a:sym typeface="Verdana" charset="0"/>
        </a:defRPr>
      </a:lvl2pPr>
      <a:lvl3pPr algn="ctr" defTabSz="825500" rtl="0" eaLnBrk="0" fontAlgn="base" hangingPunct="0">
        <a:spcBef>
          <a:spcPct val="0"/>
        </a:spcBef>
        <a:spcAft>
          <a:spcPct val="0"/>
        </a:spcAft>
        <a:defRPr sz="7000">
          <a:solidFill>
            <a:srgbClr val="0081BA"/>
          </a:solidFill>
          <a:latin typeface="Gotham Book" charset="0"/>
          <a:ea typeface="ＭＳ Ｐゴシック" charset="0"/>
          <a:cs typeface="Verdana" charset="0"/>
          <a:sym typeface="Verdana" charset="0"/>
        </a:defRPr>
      </a:lvl3pPr>
      <a:lvl4pPr algn="ctr" defTabSz="825500" rtl="0" eaLnBrk="0" fontAlgn="base" hangingPunct="0">
        <a:spcBef>
          <a:spcPct val="0"/>
        </a:spcBef>
        <a:spcAft>
          <a:spcPct val="0"/>
        </a:spcAft>
        <a:defRPr sz="7000">
          <a:solidFill>
            <a:srgbClr val="0081BA"/>
          </a:solidFill>
          <a:latin typeface="Gotham Book" charset="0"/>
          <a:ea typeface="ＭＳ Ｐゴシック" charset="0"/>
          <a:cs typeface="Verdana" charset="0"/>
          <a:sym typeface="Verdana" charset="0"/>
        </a:defRPr>
      </a:lvl4pPr>
      <a:lvl5pPr algn="ctr" defTabSz="825500" rtl="0" eaLnBrk="0" fontAlgn="base" hangingPunct="0">
        <a:spcBef>
          <a:spcPct val="0"/>
        </a:spcBef>
        <a:spcAft>
          <a:spcPct val="0"/>
        </a:spcAft>
        <a:defRPr sz="7000">
          <a:solidFill>
            <a:srgbClr val="0081BA"/>
          </a:solidFill>
          <a:latin typeface="Gotham Book" charset="0"/>
          <a:ea typeface="ＭＳ Ｐゴシック" charset="0"/>
          <a:cs typeface="Verdana" charset="0"/>
          <a:sym typeface="Verdana" charset="0"/>
        </a:defRPr>
      </a:lvl5pPr>
      <a:lvl6pPr marL="457200" algn="ctr" defTabSz="825500" rtl="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6pPr>
      <a:lvl7pPr marL="914400" algn="ctr" defTabSz="825500" rtl="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7pPr>
      <a:lvl8pPr marL="1371600" algn="ctr" defTabSz="825500" rtl="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8pPr>
      <a:lvl9pPr marL="1828800" algn="ctr" defTabSz="825500" rtl="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9pPr>
    </p:titleStyle>
    <p:bodyStyle>
      <a:lvl1pPr marL="444500" indent="-444500" algn="l" defTabSz="825500" rtl="0" eaLnBrk="0" fontAlgn="base" hangingPunct="0">
        <a:spcBef>
          <a:spcPts val="3000"/>
        </a:spcBef>
        <a:spcAft>
          <a:spcPct val="0"/>
        </a:spcAft>
        <a:buClr>
          <a:srgbClr val="4A88C4"/>
        </a:buClr>
        <a:buSzPct val="75000"/>
        <a:buChar char="•"/>
        <a:defRPr sz="5500">
          <a:solidFill>
            <a:srgbClr val="424242"/>
          </a:solidFill>
          <a:latin typeface="Gotham Book"/>
          <a:ea typeface="+mn-ea"/>
          <a:cs typeface="Gotham Book"/>
          <a:sym typeface="Verdana" charset="0"/>
        </a:defRPr>
      </a:lvl1pPr>
      <a:lvl2pPr marL="1306513" indent="-671513" algn="l" defTabSz="825500" rtl="0" eaLnBrk="0" fontAlgn="base" hangingPunct="0">
        <a:spcBef>
          <a:spcPts val="3000"/>
        </a:spcBef>
        <a:spcAft>
          <a:spcPct val="0"/>
        </a:spcAft>
        <a:buClr>
          <a:srgbClr val="4A88C4"/>
        </a:buClr>
        <a:buSzPct val="75000"/>
        <a:buChar char="•"/>
        <a:defRPr sz="5500">
          <a:solidFill>
            <a:srgbClr val="424242"/>
          </a:solidFill>
          <a:latin typeface="Gotham Book"/>
          <a:ea typeface="Verdana" charset="0"/>
          <a:cs typeface="Gotham Book"/>
          <a:sym typeface="Verdana" charset="0"/>
        </a:defRPr>
      </a:lvl2pPr>
      <a:lvl3pPr marL="1941513" indent="-671513" algn="l" defTabSz="825500" rtl="0" eaLnBrk="0" fontAlgn="base" hangingPunct="0">
        <a:spcBef>
          <a:spcPts val="3000"/>
        </a:spcBef>
        <a:spcAft>
          <a:spcPct val="0"/>
        </a:spcAft>
        <a:buClr>
          <a:srgbClr val="4A88C4"/>
        </a:buClr>
        <a:buSzPct val="75000"/>
        <a:buChar char="•"/>
        <a:defRPr sz="5500">
          <a:solidFill>
            <a:srgbClr val="424242"/>
          </a:solidFill>
          <a:latin typeface="Gotham Book"/>
          <a:ea typeface="Verdana" charset="0"/>
          <a:cs typeface="Gotham Book"/>
          <a:sym typeface="Verdana" charset="0"/>
        </a:defRPr>
      </a:lvl3pPr>
      <a:lvl4pPr marL="2576513" indent="-671513" algn="l" defTabSz="825500" rtl="0" eaLnBrk="0" fontAlgn="base" hangingPunct="0">
        <a:spcBef>
          <a:spcPts val="3000"/>
        </a:spcBef>
        <a:spcAft>
          <a:spcPct val="0"/>
        </a:spcAft>
        <a:buClr>
          <a:srgbClr val="4A88C4"/>
        </a:buClr>
        <a:buSzPct val="75000"/>
        <a:buChar char="•"/>
        <a:defRPr sz="5500">
          <a:solidFill>
            <a:srgbClr val="424242"/>
          </a:solidFill>
          <a:latin typeface="Gotham Book"/>
          <a:ea typeface="Verdana" charset="0"/>
          <a:cs typeface="Gotham Book"/>
          <a:sym typeface="Verdana" charset="0"/>
        </a:defRPr>
      </a:lvl4pPr>
      <a:lvl5pPr marL="3211513" indent="-671513" algn="l" defTabSz="825500" rtl="0" eaLnBrk="0" fontAlgn="base" hangingPunct="0">
        <a:spcBef>
          <a:spcPts val="3000"/>
        </a:spcBef>
        <a:spcAft>
          <a:spcPct val="0"/>
        </a:spcAft>
        <a:buClr>
          <a:srgbClr val="4A88C4"/>
        </a:buClr>
        <a:buSzPct val="75000"/>
        <a:buChar char="•"/>
        <a:defRPr sz="5500">
          <a:solidFill>
            <a:srgbClr val="424242"/>
          </a:solidFill>
          <a:latin typeface="Gotham Book"/>
          <a:ea typeface="Verdana" charset="0"/>
          <a:cs typeface="Gotham Book"/>
          <a:sym typeface="Verdana" charset="0"/>
        </a:defRPr>
      </a:lvl5pPr>
      <a:lvl6pPr marL="3668713" indent="-671513" algn="l" defTabSz="825500" rtl="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6pPr>
      <a:lvl7pPr marL="4125913" indent="-671513" algn="l" defTabSz="825500" rtl="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7pPr>
      <a:lvl8pPr marL="4583113" indent="-671513" algn="l" defTabSz="825500" rtl="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8pPr>
      <a:lvl9pPr marL="5040313" indent="-671513" algn="l" defTabSz="825500" rtl="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auto">
      <p:bgPr>
        <a:solidFill>
          <a:srgbClr val="0480BA"/>
        </a:solidFill>
        <a:effectLst/>
      </p:bgPr>
    </p:bg>
    <p:spTree>
      <p:nvGrpSpPr>
        <p:cNvPr id="1" name=""/>
        <p:cNvGrpSpPr/>
        <p:nvPr/>
      </p:nvGrpSpPr>
      <p:grpSpPr>
        <a:xfrm>
          <a:off x="0" y="0"/>
          <a:ext cx="0" cy="0"/>
          <a:chOff x="0" y="0"/>
          <a:chExt cx="0" cy="0"/>
        </a:xfrm>
      </p:grpSpPr>
      <p:pic>
        <p:nvPicPr>
          <p:cNvPr id="2049" name="Picture 1" descr="opt_circle_mark_BLACK.png"/>
          <p:cNvPicPr>
            <a:picLocks noChangeAspect="1"/>
          </p:cNvPicPr>
          <p:nvPr/>
        </p:nvPicPr>
        <p:blipFill>
          <a:blip r:embed="rId14">
            <a:alphaModFix amt="15000"/>
            <a:extLst>
              <a:ext uri="{28A0092B-C50C-407E-A947-70E740481C1C}">
                <a14:useLocalDpi xmlns:a14="http://schemas.microsoft.com/office/drawing/2010/main" val="0"/>
              </a:ext>
            </a:extLst>
          </a:blip>
          <a:srcRect/>
          <a:stretch>
            <a:fillRect/>
          </a:stretch>
        </p:blipFill>
        <p:spPr bwMode="auto">
          <a:xfrm>
            <a:off x="-598488" y="6678613"/>
            <a:ext cx="7513638" cy="7262812"/>
          </a:xfrm>
          <a:prstGeom prst="rect">
            <a:avLst/>
          </a:prstGeom>
          <a:noFill/>
          <a:ln>
            <a:noFill/>
          </a:ln>
          <a:effectLst/>
          <a:extLst>
            <a:ext uri="{909E8E84-426E-40dd-AFC4-6F175D3DCCD1}">
              <a14:hiddenFill xmlns:a14="http://schemas.microsoft.com/office/drawing/2010/main">
                <a:solidFill>
                  <a:srgbClr val="FFFFFF">
                    <a:alpha val="14999"/>
                  </a:srgbClr>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85" r:id="rId12"/>
  </p:sldLayoutIdLst>
  <p:txStyles>
    <p:titleStyle>
      <a:lvl1pPr algn="ctr" defTabSz="825500" rtl="0" eaLnBrk="0" fontAlgn="base" hangingPunct="0">
        <a:spcBef>
          <a:spcPct val="0"/>
        </a:spcBef>
        <a:spcAft>
          <a:spcPct val="0"/>
        </a:spcAft>
        <a:defRPr sz="7000">
          <a:solidFill>
            <a:srgbClr val="0081BA"/>
          </a:solidFill>
          <a:latin typeface="+mj-lt"/>
          <a:ea typeface="+mj-ea"/>
          <a:cs typeface="+mj-cs"/>
          <a:sym typeface="Verdana" charset="0"/>
        </a:defRPr>
      </a:lvl1pPr>
      <a:lvl2pPr algn="ctr" defTabSz="825500" rtl="0" eaLnBrk="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2pPr>
      <a:lvl3pPr algn="ctr" defTabSz="825500" rtl="0" eaLnBrk="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3pPr>
      <a:lvl4pPr algn="ctr" defTabSz="825500" rtl="0" eaLnBrk="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4pPr>
      <a:lvl5pPr algn="ctr" defTabSz="825500" rtl="0" eaLnBrk="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5pPr>
      <a:lvl6pPr marL="457200" algn="ctr" defTabSz="825500" rtl="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6pPr>
      <a:lvl7pPr marL="914400" algn="ctr" defTabSz="825500" rtl="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7pPr>
      <a:lvl8pPr marL="1371600" algn="ctr" defTabSz="825500" rtl="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8pPr>
      <a:lvl9pPr marL="1828800" algn="ctr" defTabSz="825500" rtl="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9pPr>
    </p:titleStyle>
    <p:bodyStyle>
      <a:lvl1pPr marL="444500" indent="-444500" algn="l" defTabSz="825500" rtl="0" eaLnBrk="0" fontAlgn="base" hangingPunct="0">
        <a:spcBef>
          <a:spcPts val="3000"/>
        </a:spcBef>
        <a:spcAft>
          <a:spcPct val="0"/>
        </a:spcAft>
        <a:buClr>
          <a:srgbClr val="4A88C4"/>
        </a:buClr>
        <a:buSzPct val="75000"/>
        <a:buChar char="•"/>
        <a:defRPr sz="5500">
          <a:solidFill>
            <a:srgbClr val="424242"/>
          </a:solidFill>
          <a:latin typeface="+mn-lt"/>
          <a:ea typeface="+mn-ea"/>
          <a:cs typeface="+mn-cs"/>
          <a:sym typeface="Verdana" charset="0"/>
        </a:defRPr>
      </a:lvl1pPr>
      <a:lvl2pPr marL="1306513" indent="-671513" algn="l" defTabSz="825500" rtl="0" eaLnBrk="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2pPr>
      <a:lvl3pPr marL="1941513" indent="-671513" algn="l" defTabSz="825500" rtl="0" eaLnBrk="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3pPr>
      <a:lvl4pPr marL="2576513" indent="-671513" algn="l" defTabSz="825500" rtl="0" eaLnBrk="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4pPr>
      <a:lvl5pPr marL="3211513" indent="-671513" algn="l" defTabSz="825500" rtl="0" eaLnBrk="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5pPr>
      <a:lvl6pPr marL="3668713" indent="-671513" algn="l" defTabSz="825500" rtl="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6pPr>
      <a:lvl7pPr marL="4125913" indent="-671513" algn="l" defTabSz="825500" rtl="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7pPr>
      <a:lvl8pPr marL="4583113" indent="-671513" algn="l" defTabSz="825500" rtl="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8pPr>
      <a:lvl9pPr marL="5040313" indent="-671513" algn="l" defTabSz="825500" rtl="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auto">
      <p:bgPr>
        <a:solidFill>
          <a:srgbClr val="0480BA"/>
        </a:solidFill>
        <a:effectLst/>
      </p:bgPr>
    </p:bg>
    <p:spTree>
      <p:nvGrpSpPr>
        <p:cNvPr id="1" name=""/>
        <p:cNvGrpSpPr/>
        <p:nvPr/>
      </p:nvGrpSpPr>
      <p:grpSpPr>
        <a:xfrm>
          <a:off x="0" y="0"/>
          <a:ext cx="0" cy="0"/>
          <a:chOff x="0" y="0"/>
          <a:chExt cx="0" cy="0"/>
        </a:xfrm>
      </p:grpSpPr>
      <p:pic>
        <p:nvPicPr>
          <p:cNvPr id="4097" name="Picture 1" descr="optimizely_logo_WHITE.pdf"/>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7859713" y="5929313"/>
            <a:ext cx="8662987" cy="18557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Tree>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ctr" defTabSz="825500" rtl="0" eaLnBrk="0" fontAlgn="base" hangingPunct="0">
        <a:spcBef>
          <a:spcPct val="0"/>
        </a:spcBef>
        <a:spcAft>
          <a:spcPct val="0"/>
        </a:spcAft>
        <a:defRPr sz="7000">
          <a:solidFill>
            <a:srgbClr val="0081BA"/>
          </a:solidFill>
          <a:latin typeface="+mj-lt"/>
          <a:ea typeface="+mj-ea"/>
          <a:cs typeface="+mj-cs"/>
          <a:sym typeface="Verdana" charset="0"/>
        </a:defRPr>
      </a:lvl1pPr>
      <a:lvl2pPr algn="ctr" defTabSz="825500" rtl="0" eaLnBrk="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2pPr>
      <a:lvl3pPr algn="ctr" defTabSz="825500" rtl="0" eaLnBrk="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3pPr>
      <a:lvl4pPr algn="ctr" defTabSz="825500" rtl="0" eaLnBrk="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4pPr>
      <a:lvl5pPr algn="ctr" defTabSz="825500" rtl="0" eaLnBrk="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5pPr>
      <a:lvl6pPr marL="457200" algn="ctr" defTabSz="825500" rtl="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6pPr>
      <a:lvl7pPr marL="914400" algn="ctr" defTabSz="825500" rtl="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7pPr>
      <a:lvl8pPr marL="1371600" algn="ctr" defTabSz="825500" rtl="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8pPr>
      <a:lvl9pPr marL="1828800" algn="ctr" defTabSz="825500" rtl="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9pPr>
    </p:titleStyle>
    <p:bodyStyle>
      <a:lvl1pPr marL="444500" indent="-444500" algn="l" defTabSz="825500" rtl="0" eaLnBrk="0" fontAlgn="base" hangingPunct="0">
        <a:spcBef>
          <a:spcPts val="3000"/>
        </a:spcBef>
        <a:spcAft>
          <a:spcPct val="0"/>
        </a:spcAft>
        <a:buClr>
          <a:srgbClr val="4A88C4"/>
        </a:buClr>
        <a:buSzPct val="75000"/>
        <a:buChar char="•"/>
        <a:defRPr sz="5500">
          <a:solidFill>
            <a:srgbClr val="424242"/>
          </a:solidFill>
          <a:latin typeface="+mn-lt"/>
          <a:ea typeface="+mn-ea"/>
          <a:cs typeface="+mn-cs"/>
          <a:sym typeface="Verdana" charset="0"/>
        </a:defRPr>
      </a:lvl1pPr>
      <a:lvl2pPr marL="1306513" indent="-671513" algn="l" defTabSz="825500" rtl="0" eaLnBrk="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2pPr>
      <a:lvl3pPr marL="1941513" indent="-671513" algn="l" defTabSz="825500" rtl="0" eaLnBrk="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3pPr>
      <a:lvl4pPr marL="2576513" indent="-671513" algn="l" defTabSz="825500" rtl="0" eaLnBrk="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4pPr>
      <a:lvl5pPr marL="3211513" indent="-671513" algn="l" defTabSz="825500" rtl="0" eaLnBrk="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5pPr>
      <a:lvl6pPr marL="3668713" indent="-671513" algn="l" defTabSz="825500" rtl="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6pPr>
      <a:lvl7pPr marL="4125913" indent="-671513" algn="l" defTabSz="825500" rtl="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7pPr>
      <a:lvl8pPr marL="4583113" indent="-671513" algn="l" defTabSz="825500" rtl="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8pPr>
      <a:lvl9pPr marL="5040313" indent="-671513" algn="l" defTabSz="825500" rtl="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hyperlink" Target="https://help.optimizely.com/hc/en-us/articles/216014487-Running-your-optimization-program" TargetMode="External"/><Relationship Id="rId3" Type="http://schemas.openxmlformats.org/officeDocument/2006/relationships/hyperlink" Target="https://help.optimizely.com/hc/en-us/articles/213337357-Connect-your-testing-program-to-company-metrics"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4.xml"/><Relationship Id="rId7" Type="http://schemas.openxmlformats.org/officeDocument/2006/relationships/diagramData" Target="../diagrams/data7.xml"/><Relationship Id="rId8" Type="http://schemas.openxmlformats.org/officeDocument/2006/relationships/diagramLayout" Target="../diagrams/layout7.xml"/><Relationship Id="rId9" Type="http://schemas.openxmlformats.org/officeDocument/2006/relationships/diagramQuickStyle" Target="../diagrams/quickStyle7.xml"/><Relationship Id="rId10" Type="http://schemas.openxmlformats.org/officeDocument/2006/relationships/diagramColors" Target="../diagrams/colors7.xml"/><Relationship Id="rId11" Type="http://schemas.microsoft.com/office/2007/relationships/diagramDrawing" Target="../diagrams/drawing7.xml"/><Relationship Id="rId1" Type="http://schemas.openxmlformats.org/officeDocument/2006/relationships/tags" Target="../tags/tag1.xml"/><Relationship Id="rId2" Type="http://schemas.openxmlformats.org/officeDocument/2006/relationships/tags" Target="../tags/tag2.xml"/></Relationships>
</file>

<file path=ppt/slides/_rels/slide12.xml.rels><?xml version="1.0" encoding="UTF-8" standalone="yes"?>
<Relationships xmlns="http://schemas.openxmlformats.org/package/2006/relationships"><Relationship Id="rId3" Type="http://schemas.openxmlformats.org/officeDocument/2006/relationships/tags" Target="../tags/tag8.xml"/><Relationship Id="rId4" Type="http://schemas.openxmlformats.org/officeDocument/2006/relationships/tags" Target="../tags/tag9.xml"/><Relationship Id="rId5" Type="http://schemas.openxmlformats.org/officeDocument/2006/relationships/tags" Target="../tags/tag10.xml"/><Relationship Id="rId6" Type="http://schemas.openxmlformats.org/officeDocument/2006/relationships/slideLayout" Target="../slideLayouts/slideLayout4.xml"/><Relationship Id="rId7" Type="http://schemas.openxmlformats.org/officeDocument/2006/relationships/diagramData" Target="../diagrams/data8.xml"/><Relationship Id="rId8" Type="http://schemas.openxmlformats.org/officeDocument/2006/relationships/diagramLayout" Target="../diagrams/layout8.xml"/><Relationship Id="rId9" Type="http://schemas.openxmlformats.org/officeDocument/2006/relationships/diagramQuickStyle" Target="../diagrams/quickStyle8.xml"/><Relationship Id="rId10" Type="http://schemas.openxmlformats.org/officeDocument/2006/relationships/diagramColors" Target="../diagrams/colors8.xml"/><Relationship Id="rId11" Type="http://schemas.microsoft.com/office/2007/relationships/diagramDrawing" Target="../diagrams/drawing8.xml"/><Relationship Id="rId1" Type="http://schemas.openxmlformats.org/officeDocument/2006/relationships/tags" Target="../tags/tag6.xml"/><Relationship Id="rId2" Type="http://schemas.openxmlformats.org/officeDocument/2006/relationships/tags" Target="../tags/tag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4" Type="http://schemas.openxmlformats.org/officeDocument/2006/relationships/diagramQuickStyle" Target="../diagrams/quickStyle1.xml"/><Relationship Id="rId5" Type="http://schemas.openxmlformats.org/officeDocument/2006/relationships/diagramColors" Target="../diagrams/colors1.xml"/><Relationship Id="rId6" Type="http://schemas.microsoft.com/office/2007/relationships/diagramDrawing" Target="../diagrams/drawing1.xml"/><Relationship Id="rId1" Type="http://schemas.openxmlformats.org/officeDocument/2006/relationships/slideLayout" Target="../slideLayouts/slideLayout18.xml"/><Relationship Id="rId2" Type="http://schemas.openxmlformats.org/officeDocument/2006/relationships/diagramData" Target="../diagrams/data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1" Type="http://schemas.openxmlformats.org/officeDocument/2006/relationships/slideLayout" Target="../slideLayouts/slideLayout18.xml"/><Relationship Id="rId2" Type="http://schemas.openxmlformats.org/officeDocument/2006/relationships/diagramData" Target="../diagrams/data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3.xml"/><Relationship Id="rId4" Type="http://schemas.openxmlformats.org/officeDocument/2006/relationships/diagramQuickStyle" Target="../diagrams/quickStyle3.xml"/><Relationship Id="rId5" Type="http://schemas.openxmlformats.org/officeDocument/2006/relationships/diagramColors" Target="../diagrams/colors3.xml"/><Relationship Id="rId6" Type="http://schemas.microsoft.com/office/2007/relationships/diagramDrawing" Target="../diagrams/drawing3.xml"/><Relationship Id="rId1" Type="http://schemas.openxmlformats.org/officeDocument/2006/relationships/slideLayout" Target="../slideLayouts/slideLayout18.xml"/><Relationship Id="rId2" Type="http://schemas.openxmlformats.org/officeDocument/2006/relationships/diagramData" Target="../diagrams/data3.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4.xml"/><Relationship Id="rId4" Type="http://schemas.openxmlformats.org/officeDocument/2006/relationships/diagramQuickStyle" Target="../diagrams/quickStyle4.xml"/><Relationship Id="rId5" Type="http://schemas.openxmlformats.org/officeDocument/2006/relationships/diagramColors" Target="../diagrams/colors4.xml"/><Relationship Id="rId6" Type="http://schemas.microsoft.com/office/2007/relationships/diagramDrawing" Target="../diagrams/drawing4.xml"/><Relationship Id="rId1" Type="http://schemas.openxmlformats.org/officeDocument/2006/relationships/slideLayout" Target="../slideLayouts/slideLayout18.xml"/><Relationship Id="rId2" Type="http://schemas.openxmlformats.org/officeDocument/2006/relationships/diagramData" Target="../diagrams/data4.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5.xml"/><Relationship Id="rId4" Type="http://schemas.openxmlformats.org/officeDocument/2006/relationships/diagramQuickStyle" Target="../diagrams/quickStyle5.xml"/><Relationship Id="rId5" Type="http://schemas.openxmlformats.org/officeDocument/2006/relationships/diagramColors" Target="../diagrams/colors5.xml"/><Relationship Id="rId6" Type="http://schemas.microsoft.com/office/2007/relationships/diagramDrawing" Target="../diagrams/drawing5.xml"/><Relationship Id="rId1" Type="http://schemas.openxmlformats.org/officeDocument/2006/relationships/slideLayout" Target="../slideLayouts/slideLayout26.xml"/><Relationship Id="rId2" Type="http://schemas.openxmlformats.org/officeDocument/2006/relationships/diagramData" Target="../diagrams/data5.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6.xml"/><Relationship Id="rId4" Type="http://schemas.openxmlformats.org/officeDocument/2006/relationships/diagramQuickStyle" Target="../diagrams/quickStyle6.xml"/><Relationship Id="rId5" Type="http://schemas.openxmlformats.org/officeDocument/2006/relationships/diagramColors" Target="../diagrams/colors6.xml"/><Relationship Id="rId6" Type="http://schemas.microsoft.com/office/2007/relationships/diagramDrawing" Target="../diagrams/drawing6.xml"/><Relationship Id="rId1" Type="http://schemas.openxmlformats.org/officeDocument/2006/relationships/slideLayout" Target="../slideLayouts/slideLayout4.xml"/><Relationship Id="rId2" Type="http://schemas.openxmlformats.org/officeDocument/2006/relationships/diagramData" Target="../diagrams/data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57400" y="4191000"/>
            <a:ext cx="21010016" cy="3839984"/>
          </a:xfrm>
        </p:spPr>
        <p:txBody>
          <a:bodyPr/>
          <a:lstStyle/>
          <a:p>
            <a:r>
              <a:rPr lang="en-US" dirty="0" smtClean="0">
                <a:latin typeface="Proxima Nova"/>
              </a:rPr>
              <a:t>Goal tree </a:t>
            </a:r>
            <a:br>
              <a:rPr lang="en-US" dirty="0" smtClean="0">
                <a:latin typeface="Proxima Nova"/>
              </a:rPr>
            </a:br>
            <a:r>
              <a:rPr lang="en-US" sz="4400" dirty="0" smtClean="0">
                <a:solidFill>
                  <a:srgbClr val="88C2DE"/>
                </a:solidFill>
                <a:latin typeface="Proxima Nova"/>
              </a:rPr>
              <a:t>E-COMMERCE AND RETAIL</a:t>
            </a:r>
            <a:br>
              <a:rPr lang="en-US" sz="4400" dirty="0" smtClean="0">
                <a:solidFill>
                  <a:srgbClr val="88C2DE"/>
                </a:solidFill>
                <a:latin typeface="Proxima Nova"/>
              </a:rPr>
            </a:br>
            <a:endParaRPr lang="en-US" sz="4400" dirty="0">
              <a:solidFill>
                <a:srgbClr val="88C2DE"/>
              </a:solidFill>
              <a:latin typeface="Proxima Nova"/>
            </a:endParaRPr>
          </a:p>
        </p:txBody>
      </p:sp>
      <p:sp>
        <p:nvSpPr>
          <p:cNvPr id="3" name="Subtitle 2"/>
          <p:cNvSpPr>
            <a:spLocks noGrp="1"/>
          </p:cNvSpPr>
          <p:nvPr>
            <p:ph type="subTitle" idx="1"/>
          </p:nvPr>
        </p:nvSpPr>
        <p:spPr>
          <a:xfrm>
            <a:off x="10210800" y="7620000"/>
            <a:ext cx="12882624" cy="3810000"/>
          </a:xfrm>
        </p:spPr>
        <p:txBody>
          <a:bodyPr/>
          <a:lstStyle/>
          <a:p>
            <a:r>
              <a:rPr lang="en-US" sz="2900" b="0" dirty="0">
                <a:solidFill>
                  <a:schemeClr val="tx1">
                    <a:lumMod val="10000"/>
                    <a:lumOff val="90000"/>
                  </a:schemeClr>
                </a:solidFill>
                <a:latin typeface="Proxima Nova"/>
              </a:rPr>
              <a:t>When you build an </a:t>
            </a:r>
            <a:r>
              <a:rPr lang="en-US" sz="2900" b="0" dirty="0">
                <a:solidFill>
                  <a:schemeClr val="tx1">
                    <a:lumMod val="10000"/>
                    <a:lumOff val="90000"/>
                  </a:schemeClr>
                </a:solidFill>
                <a:latin typeface="Proxima Nova"/>
                <a:hlinkClick r:id="rId2"/>
              </a:rPr>
              <a:t>optimization strategy</a:t>
            </a:r>
            <a:r>
              <a:rPr lang="en-US" sz="2900" b="0" dirty="0">
                <a:solidFill>
                  <a:schemeClr val="tx1">
                    <a:lumMod val="10000"/>
                    <a:lumOff val="90000"/>
                  </a:schemeClr>
                </a:solidFill>
                <a:latin typeface="Proxima Nova"/>
              </a:rPr>
              <a:t>, you’ll first align your program’s testing efforts to your company goals. We recommend that you start by focusing your program on achieving quick wins with impactful tests that affect the bottom line.</a:t>
            </a:r>
          </a:p>
          <a:p>
            <a:endParaRPr lang="en-US" sz="2900" b="0" dirty="0">
              <a:solidFill>
                <a:schemeClr val="tx1">
                  <a:lumMod val="10000"/>
                  <a:lumOff val="90000"/>
                </a:schemeClr>
              </a:solidFill>
              <a:latin typeface="Proxima Nova"/>
            </a:endParaRPr>
          </a:p>
          <a:p>
            <a:r>
              <a:rPr lang="en-US" sz="2900" b="0" dirty="0">
                <a:solidFill>
                  <a:schemeClr val="tx1">
                    <a:lumMod val="10000"/>
                    <a:lumOff val="90000"/>
                  </a:schemeClr>
                </a:solidFill>
                <a:latin typeface="Proxima Nova"/>
              </a:rPr>
              <a:t>A goal tree is a map of metrics that are critical to your company’s success. Break each of these metrics down into focused objectives that your program can move the needle on, through testing and personalization. Read this article to </a:t>
            </a:r>
            <a:r>
              <a:rPr lang="en-US" sz="2900" b="0" dirty="0">
                <a:solidFill>
                  <a:schemeClr val="tx1">
                    <a:lumMod val="10000"/>
                    <a:lumOff val="90000"/>
                  </a:schemeClr>
                </a:solidFill>
                <a:latin typeface="Proxima Nova"/>
                <a:hlinkClick r:id="rId3"/>
              </a:rPr>
              <a:t>learn more about goal trees</a:t>
            </a:r>
            <a:r>
              <a:rPr lang="en-US" sz="2900" b="0" dirty="0">
                <a:solidFill>
                  <a:schemeClr val="tx1">
                    <a:lumMod val="10000"/>
                    <a:lumOff val="90000"/>
                  </a:schemeClr>
                </a:solidFill>
                <a:latin typeface="Proxima Nova"/>
              </a:rPr>
              <a:t>.</a:t>
            </a:r>
          </a:p>
        </p:txBody>
      </p:sp>
      <p:sp>
        <p:nvSpPr>
          <p:cNvPr id="4" name="Rectangle 3"/>
          <p:cNvSpPr/>
          <p:nvPr/>
        </p:nvSpPr>
        <p:spPr>
          <a:xfrm>
            <a:off x="12099667" y="6632297"/>
            <a:ext cx="184666" cy="451406"/>
          </a:xfrm>
          <a:prstGeom prst="rect">
            <a:avLst/>
          </a:prstGeom>
        </p:spPr>
        <p:txBody>
          <a:bodyPr wrap="none">
            <a:spAutoFit/>
          </a:bodyPr>
          <a:lstStyle/>
          <a:p>
            <a:r>
              <a:rPr lang="en-US" dirty="0"/>
              <a:t> </a:t>
            </a:r>
          </a:p>
        </p:txBody>
      </p:sp>
    </p:spTree>
    <p:extLst>
      <p:ext uri="{BB962C8B-B14F-4D97-AF65-F5344CB8AC3E}">
        <p14:creationId xmlns:p14="http://schemas.microsoft.com/office/powerpoint/2010/main" val="37019547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Shape 63"/>
          <p:cNvSpPr/>
          <p:nvPr/>
        </p:nvSpPr>
        <p:spPr>
          <a:xfrm>
            <a:off x="1059378" y="6020662"/>
            <a:ext cx="22265246" cy="1210588"/>
          </a:xfrm>
          <a:prstGeom prst="rect">
            <a:avLst/>
          </a:prstGeom>
          <a:ln w="12700">
            <a:miter lim="400000"/>
          </a:ln>
          <a:extLst>
            <a:ext uri="{C572A759-6A51-4108-AA02-DFA0A04FC94B}">
              <ma14:wrappingTextBoxFlag xmlns:ma14="http://schemas.microsoft.com/office/mac/drawingml/2011/main" val="1"/>
            </a:ext>
          </a:extLst>
        </p:spPr>
        <p:txBody>
          <a:bodyPr wrap="square" lIns="50800" tIns="50800" rIns="50800" bIns="50800" anchor="ctr">
            <a:spAutoFit/>
          </a:bodyPr>
          <a:lstStyle>
            <a:lvl1pPr>
              <a:lnSpc>
                <a:spcPct val="100000"/>
              </a:lnSpc>
              <a:defRPr sz="12000" spc="-239">
                <a:solidFill>
                  <a:srgbClr val="FFFFFF"/>
                </a:solidFill>
                <a:latin typeface="+mj-lt"/>
                <a:ea typeface="+mj-ea"/>
                <a:cs typeface="+mj-cs"/>
                <a:sym typeface="Verdana Bold"/>
              </a:defRPr>
            </a:lvl1pPr>
          </a:lstStyle>
          <a:p>
            <a:pPr lvl="0" algn="l">
              <a:defRPr sz="1800" spc="0">
                <a:solidFill>
                  <a:srgbClr val="000000"/>
                </a:solidFill>
              </a:defRPr>
            </a:pPr>
            <a:r>
              <a:rPr lang="en-US" sz="7200" b="1" spc="-239" dirty="0" smtClean="0">
                <a:solidFill>
                  <a:srgbClr val="FFFFFF"/>
                </a:solidFill>
                <a:effectLst/>
                <a:latin typeface="Proxima Nova"/>
                <a:cs typeface="Proxima Nova"/>
              </a:rPr>
              <a:t>Goal mapping</a:t>
            </a:r>
            <a:endParaRPr sz="7200" b="1" spc="-239" dirty="0">
              <a:solidFill>
                <a:srgbClr val="FFFFFF"/>
              </a:solidFill>
              <a:effectLst/>
              <a:latin typeface="Proxima Nova"/>
              <a:cs typeface="Proxima Nova"/>
            </a:endParaRPr>
          </a:p>
        </p:txBody>
      </p:sp>
      <p:sp>
        <p:nvSpPr>
          <p:cNvPr id="2" name="Rectangle 1"/>
          <p:cNvSpPr/>
          <p:nvPr/>
        </p:nvSpPr>
        <p:spPr>
          <a:xfrm>
            <a:off x="12099667" y="6632297"/>
            <a:ext cx="184666" cy="451406"/>
          </a:xfrm>
          <a:prstGeom prst="rect">
            <a:avLst/>
          </a:prstGeom>
        </p:spPr>
        <p:txBody>
          <a:bodyPr wrap="none">
            <a:spAutoFit/>
          </a:bodyPr>
          <a:lstStyle/>
          <a:p>
            <a:r>
              <a:rPr lang="en-US" dirty="0"/>
              <a:t> </a:t>
            </a:r>
          </a:p>
        </p:txBody>
      </p:sp>
      <p:sp>
        <p:nvSpPr>
          <p:cNvPr id="3" name="Rectangle 2"/>
          <p:cNvSpPr/>
          <p:nvPr/>
        </p:nvSpPr>
        <p:spPr>
          <a:xfrm>
            <a:off x="12099667" y="6632297"/>
            <a:ext cx="184666" cy="451406"/>
          </a:xfrm>
          <a:prstGeom prst="rect">
            <a:avLst/>
          </a:prstGeom>
        </p:spPr>
        <p:txBody>
          <a:bodyPr wrap="none">
            <a:spAutoFit/>
          </a:bodyPr>
          <a:lstStyle/>
          <a:p>
            <a:r>
              <a:rPr lang="en-US" dirty="0"/>
              <a:t> </a:t>
            </a:r>
          </a:p>
        </p:txBody>
      </p:sp>
      <p:sp>
        <p:nvSpPr>
          <p:cNvPr id="4" name="Rectangle 3"/>
          <p:cNvSpPr/>
          <p:nvPr/>
        </p:nvSpPr>
        <p:spPr>
          <a:xfrm>
            <a:off x="990600" y="7390158"/>
            <a:ext cx="12573000" cy="2439642"/>
          </a:xfrm>
          <a:prstGeom prst="rect">
            <a:avLst/>
          </a:prstGeom>
        </p:spPr>
        <p:txBody>
          <a:bodyPr wrap="square">
            <a:spAutoFit/>
          </a:bodyPr>
          <a:lstStyle/>
          <a:p>
            <a:pPr algn="l">
              <a:spcBef>
                <a:spcPts val="0"/>
              </a:spcBef>
            </a:pPr>
            <a:r>
              <a:rPr lang="en-US" sz="3200" dirty="0" smtClean="0">
                <a:solidFill>
                  <a:schemeClr val="bg2"/>
                </a:solidFill>
                <a:latin typeface="Proxima Nova"/>
                <a:ea typeface="Gill Sans Light"/>
                <a:cs typeface="Proxima Nova"/>
                <a:sym typeface="Gill Sans Light"/>
              </a:rPr>
              <a:t>Once you identify the KPIs your program will target directly, you’ll be able to hypothesize strategies and tactics that make an impact. Use strategies and tactics to create meaningful experiments and campaigns.</a:t>
            </a:r>
            <a:endParaRPr lang="en-US" sz="3200" dirty="0">
              <a:solidFill>
                <a:schemeClr val="bg2"/>
              </a:solidFill>
              <a:latin typeface="Proxima Nova"/>
              <a:cs typeface="Proxima Nova"/>
            </a:endParaRPr>
          </a:p>
        </p:txBody>
      </p:sp>
    </p:spTree>
    <p:extLst>
      <p:ext uri="{BB962C8B-B14F-4D97-AF65-F5344CB8AC3E}">
        <p14:creationId xmlns:p14="http://schemas.microsoft.com/office/powerpoint/2010/main" val="128508880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sz="half" idx="1"/>
            <p:extLst>
              <p:ext uri="{D42A27DB-BD31-4B8C-83A1-F6EECF244321}">
                <p14:modId xmlns:p14="http://schemas.microsoft.com/office/powerpoint/2010/main" val="1385399769"/>
              </p:ext>
            </p:extLst>
          </p:nvPr>
        </p:nvGraphicFramePr>
        <p:xfrm>
          <a:off x="3581400" y="0"/>
          <a:ext cx="20345399" cy="13716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0" name="Rectangle 9"/>
          <p:cNvSpPr/>
          <p:nvPr/>
        </p:nvSpPr>
        <p:spPr>
          <a:xfrm>
            <a:off x="0" y="11125503"/>
            <a:ext cx="3475913" cy="259049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82907" tIns="91454" rIns="182907" bIns="91454" rtlCol="0" anchor="ctr"/>
          <a:lstStyle/>
          <a:p>
            <a:pPr algn="ctr"/>
            <a:endParaRPr lang="en-US"/>
          </a:p>
        </p:txBody>
      </p:sp>
      <p:sp>
        <p:nvSpPr>
          <p:cNvPr id="11" name="Down Arrow 10"/>
          <p:cNvSpPr/>
          <p:nvPr>
            <p:custDataLst>
              <p:tags r:id="rId1"/>
            </p:custDataLst>
          </p:nvPr>
        </p:nvSpPr>
        <p:spPr bwMode="gray">
          <a:xfrm>
            <a:off x="153591" y="607695"/>
            <a:ext cx="2652081" cy="3049905"/>
          </a:xfrm>
          <a:prstGeom prst="downArrow">
            <a:avLst>
              <a:gd name="adj1" fmla="val 100000"/>
              <a:gd name="adj2" fmla="val 26676"/>
            </a:avLst>
          </a:prstGeom>
          <a:solidFill>
            <a:schemeClr val="accent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1183235" rIns="0" bIns="320648" anchor="ctr"/>
          <a:lstStyle/>
          <a:p>
            <a:pPr algn="ctr">
              <a:defRPr/>
            </a:pPr>
            <a:r>
              <a:rPr lang="en-US" sz="3200" b="1" dirty="0" smtClean="0">
                <a:solidFill>
                  <a:srgbClr val="FFFFFF"/>
                </a:solidFill>
                <a:effectLst>
                  <a:outerShdw blurRad="50800" dist="38100" dir="2700000" algn="tl" rotWithShape="0">
                    <a:prstClr val="black">
                      <a:alpha val="40000"/>
                    </a:prstClr>
                  </a:outerShdw>
                </a:effectLst>
                <a:latin typeface="Verdana"/>
                <a:cs typeface="Verdana"/>
                <a:sym typeface="Arial"/>
              </a:rPr>
              <a:t>Goals</a:t>
            </a:r>
          </a:p>
          <a:p>
            <a:pPr algn="ctr">
              <a:defRPr/>
            </a:pPr>
            <a:endParaRPr lang="en-US" b="1" dirty="0">
              <a:solidFill>
                <a:srgbClr val="FFFFFF"/>
              </a:solidFill>
              <a:effectLst>
                <a:outerShdw blurRad="50800" dist="38100" dir="2700000" algn="tl" rotWithShape="0">
                  <a:prstClr val="black">
                    <a:alpha val="40000"/>
                  </a:prstClr>
                </a:outerShdw>
              </a:effectLst>
              <a:latin typeface="Verdana"/>
              <a:cs typeface="Verdana"/>
              <a:sym typeface="Arial"/>
            </a:endParaRPr>
          </a:p>
        </p:txBody>
      </p:sp>
      <p:sp>
        <p:nvSpPr>
          <p:cNvPr id="12" name="Chevron 11"/>
          <p:cNvSpPr/>
          <p:nvPr>
            <p:custDataLst>
              <p:tags r:id="rId2"/>
            </p:custDataLst>
          </p:nvPr>
        </p:nvSpPr>
        <p:spPr bwMode="auto">
          <a:xfrm rot="5400000">
            <a:off x="-135943" y="3258646"/>
            <a:ext cx="3233138" cy="2649548"/>
          </a:xfrm>
          <a:prstGeom prst="chevron">
            <a:avLst>
              <a:gd name="adj" fmla="val 26536"/>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60131" tIns="130066" rIns="260131" bIns="130066" anchor="ctr"/>
          <a:lstStyle/>
          <a:p>
            <a:pPr algn="ctr">
              <a:defRPr/>
            </a:pPr>
            <a:endParaRPr lang="en-US" dirty="0">
              <a:solidFill>
                <a:schemeClr val="tx1"/>
              </a:solidFill>
              <a:latin typeface="Arial" pitchFamily="34" charset="0"/>
              <a:cs typeface="Arial" pitchFamily="34" charset="0"/>
            </a:endParaRPr>
          </a:p>
        </p:txBody>
      </p:sp>
      <p:sp>
        <p:nvSpPr>
          <p:cNvPr id="13" name="Rectangle 12"/>
          <p:cNvSpPr/>
          <p:nvPr>
            <p:custDataLst>
              <p:tags r:id="rId3"/>
            </p:custDataLst>
          </p:nvPr>
        </p:nvSpPr>
        <p:spPr bwMode="gray">
          <a:xfrm>
            <a:off x="155853" y="3657600"/>
            <a:ext cx="2620706" cy="1676399"/>
          </a:xfrm>
          <a:prstGeom prst="rect">
            <a:avLst/>
          </a:prstGeom>
          <a:noFill/>
          <a:ln>
            <a:no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3200" b="1" dirty="0">
                <a:solidFill>
                  <a:schemeClr val="bg1"/>
                </a:solidFill>
                <a:effectLst>
                  <a:outerShdw blurRad="50800" dist="38100" dir="2700000" algn="tl" rotWithShape="0">
                    <a:prstClr val="black">
                      <a:alpha val="40000"/>
                    </a:prstClr>
                  </a:outerShdw>
                </a:effectLst>
                <a:latin typeface="Verdana"/>
                <a:cs typeface="Verdana"/>
                <a:sym typeface="Arial"/>
              </a:rPr>
              <a:t>Strategies</a:t>
            </a:r>
          </a:p>
        </p:txBody>
      </p:sp>
      <p:sp>
        <p:nvSpPr>
          <p:cNvPr id="14" name="Chevron 13"/>
          <p:cNvSpPr/>
          <p:nvPr>
            <p:custDataLst>
              <p:tags r:id="rId4"/>
            </p:custDataLst>
          </p:nvPr>
        </p:nvSpPr>
        <p:spPr bwMode="auto">
          <a:xfrm rot="5400000">
            <a:off x="-2565248" y="8040554"/>
            <a:ext cx="8091743" cy="2649548"/>
          </a:xfrm>
          <a:prstGeom prst="chevron">
            <a:avLst>
              <a:gd name="adj" fmla="val 26676"/>
            </a:avLst>
          </a:prstGeom>
          <a:solidFill>
            <a:schemeClr val="accent1">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60131" tIns="130066" rIns="260131" bIns="130066" anchor="ctr"/>
          <a:lstStyle/>
          <a:p>
            <a:pPr algn="ctr">
              <a:defRPr/>
            </a:pPr>
            <a:endParaRPr lang="en-US" sz="4000" dirty="0">
              <a:solidFill>
                <a:schemeClr val="tx1"/>
              </a:solidFill>
              <a:latin typeface="Arial" pitchFamily="34" charset="0"/>
              <a:cs typeface="Arial" pitchFamily="34" charset="0"/>
            </a:endParaRPr>
          </a:p>
        </p:txBody>
      </p:sp>
      <p:sp>
        <p:nvSpPr>
          <p:cNvPr id="15" name="Rectangle 14"/>
          <p:cNvSpPr/>
          <p:nvPr>
            <p:custDataLst>
              <p:tags r:id="rId5"/>
            </p:custDataLst>
          </p:nvPr>
        </p:nvSpPr>
        <p:spPr bwMode="gray">
          <a:xfrm>
            <a:off x="155853" y="6019800"/>
            <a:ext cx="2620706" cy="6705600"/>
          </a:xfrm>
          <a:prstGeom prst="rect">
            <a:avLst/>
          </a:prstGeom>
          <a:noFill/>
          <a:ln>
            <a:no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3200" b="1" dirty="0">
                <a:solidFill>
                  <a:schemeClr val="bg1"/>
                </a:solidFill>
                <a:effectLst>
                  <a:outerShdw blurRad="50800" dist="38100" dir="2700000" algn="tl" rotWithShape="0">
                    <a:prstClr val="black">
                      <a:alpha val="40000"/>
                    </a:prstClr>
                  </a:outerShdw>
                </a:effectLst>
                <a:latin typeface="Verdana"/>
                <a:cs typeface="Verdana"/>
                <a:sym typeface="Arial"/>
              </a:rPr>
              <a:t>Tactics</a:t>
            </a:r>
          </a:p>
        </p:txBody>
      </p:sp>
      <p:sp>
        <p:nvSpPr>
          <p:cNvPr id="9" name="Title 1"/>
          <p:cNvSpPr>
            <a:spLocks noGrp="1"/>
          </p:cNvSpPr>
          <p:nvPr>
            <p:ph type="title"/>
          </p:nvPr>
        </p:nvSpPr>
        <p:spPr>
          <a:xfrm>
            <a:off x="16306800" y="457200"/>
            <a:ext cx="7467600" cy="2286000"/>
          </a:xfrm>
        </p:spPr>
        <p:txBody>
          <a:bodyPr/>
          <a:lstStyle/>
          <a:p>
            <a:r>
              <a:rPr lang="en-US" dirty="0" smtClean="0"/>
              <a:t>Goal Mapping</a:t>
            </a:r>
            <a:endParaRPr lang="en-US" dirty="0"/>
          </a:p>
        </p:txBody>
      </p:sp>
    </p:spTree>
    <p:extLst>
      <p:ext uri="{BB962C8B-B14F-4D97-AF65-F5344CB8AC3E}">
        <p14:creationId xmlns:p14="http://schemas.microsoft.com/office/powerpoint/2010/main" val="3200799427"/>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sz="half" idx="1"/>
            <p:extLst>
              <p:ext uri="{D42A27DB-BD31-4B8C-83A1-F6EECF244321}">
                <p14:modId xmlns:p14="http://schemas.microsoft.com/office/powerpoint/2010/main" val="2804036383"/>
              </p:ext>
            </p:extLst>
          </p:nvPr>
        </p:nvGraphicFramePr>
        <p:xfrm>
          <a:off x="3581400" y="0"/>
          <a:ext cx="20345399" cy="13716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0" name="Rectangle 9"/>
          <p:cNvSpPr/>
          <p:nvPr/>
        </p:nvSpPr>
        <p:spPr>
          <a:xfrm>
            <a:off x="0" y="11125503"/>
            <a:ext cx="3475913" cy="259049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82907" tIns="91454" rIns="182907" bIns="91454" rtlCol="0" anchor="ctr"/>
          <a:lstStyle/>
          <a:p>
            <a:pPr algn="ctr"/>
            <a:endParaRPr lang="en-US"/>
          </a:p>
        </p:txBody>
      </p:sp>
      <p:sp>
        <p:nvSpPr>
          <p:cNvPr id="11" name="Down Arrow 10"/>
          <p:cNvSpPr/>
          <p:nvPr>
            <p:custDataLst>
              <p:tags r:id="rId1"/>
            </p:custDataLst>
          </p:nvPr>
        </p:nvSpPr>
        <p:spPr bwMode="gray">
          <a:xfrm>
            <a:off x="153591" y="607695"/>
            <a:ext cx="2652081" cy="3049905"/>
          </a:xfrm>
          <a:prstGeom prst="downArrow">
            <a:avLst>
              <a:gd name="adj1" fmla="val 100000"/>
              <a:gd name="adj2" fmla="val 26676"/>
            </a:avLst>
          </a:prstGeom>
          <a:solidFill>
            <a:schemeClr val="accent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1183235" rIns="0" bIns="320648" anchor="ctr"/>
          <a:lstStyle/>
          <a:p>
            <a:pPr algn="ctr">
              <a:defRPr/>
            </a:pPr>
            <a:r>
              <a:rPr lang="en-US" sz="3200" b="1" dirty="0" smtClean="0">
                <a:solidFill>
                  <a:srgbClr val="FFFFFF"/>
                </a:solidFill>
                <a:effectLst>
                  <a:outerShdw blurRad="50800" dist="38100" dir="2700000" algn="tl" rotWithShape="0">
                    <a:prstClr val="black">
                      <a:alpha val="40000"/>
                    </a:prstClr>
                  </a:outerShdw>
                </a:effectLst>
                <a:latin typeface="Verdana"/>
                <a:cs typeface="Verdana"/>
                <a:sym typeface="Arial"/>
              </a:rPr>
              <a:t>Goals</a:t>
            </a:r>
          </a:p>
          <a:p>
            <a:pPr algn="ctr">
              <a:defRPr/>
            </a:pPr>
            <a:endParaRPr lang="en-US" b="1" dirty="0">
              <a:solidFill>
                <a:srgbClr val="FFFFFF"/>
              </a:solidFill>
              <a:effectLst>
                <a:outerShdw blurRad="50800" dist="38100" dir="2700000" algn="tl" rotWithShape="0">
                  <a:prstClr val="black">
                    <a:alpha val="40000"/>
                  </a:prstClr>
                </a:outerShdw>
              </a:effectLst>
              <a:latin typeface="Verdana"/>
              <a:cs typeface="Verdana"/>
              <a:sym typeface="Arial"/>
            </a:endParaRPr>
          </a:p>
        </p:txBody>
      </p:sp>
      <p:sp>
        <p:nvSpPr>
          <p:cNvPr id="12" name="Chevron 11"/>
          <p:cNvSpPr/>
          <p:nvPr>
            <p:custDataLst>
              <p:tags r:id="rId2"/>
            </p:custDataLst>
          </p:nvPr>
        </p:nvSpPr>
        <p:spPr bwMode="auto">
          <a:xfrm rot="5400000">
            <a:off x="-135943" y="3258646"/>
            <a:ext cx="3233138" cy="2649548"/>
          </a:xfrm>
          <a:prstGeom prst="chevron">
            <a:avLst>
              <a:gd name="adj" fmla="val 26536"/>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60131" tIns="130066" rIns="260131" bIns="130066" anchor="ctr"/>
          <a:lstStyle/>
          <a:p>
            <a:pPr algn="ctr">
              <a:defRPr/>
            </a:pPr>
            <a:endParaRPr lang="en-US" dirty="0">
              <a:solidFill>
                <a:schemeClr val="tx1"/>
              </a:solidFill>
              <a:latin typeface="Arial" pitchFamily="34" charset="0"/>
              <a:cs typeface="Arial" pitchFamily="34" charset="0"/>
            </a:endParaRPr>
          </a:p>
        </p:txBody>
      </p:sp>
      <p:sp>
        <p:nvSpPr>
          <p:cNvPr id="13" name="Rectangle 12"/>
          <p:cNvSpPr/>
          <p:nvPr>
            <p:custDataLst>
              <p:tags r:id="rId3"/>
            </p:custDataLst>
          </p:nvPr>
        </p:nvSpPr>
        <p:spPr bwMode="gray">
          <a:xfrm>
            <a:off x="155853" y="3657600"/>
            <a:ext cx="2620706" cy="1676399"/>
          </a:xfrm>
          <a:prstGeom prst="rect">
            <a:avLst/>
          </a:prstGeom>
          <a:noFill/>
          <a:ln>
            <a:no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3200" b="1" dirty="0">
                <a:solidFill>
                  <a:schemeClr val="bg1"/>
                </a:solidFill>
                <a:effectLst>
                  <a:outerShdw blurRad="50800" dist="38100" dir="2700000" algn="tl" rotWithShape="0">
                    <a:prstClr val="black">
                      <a:alpha val="40000"/>
                    </a:prstClr>
                  </a:outerShdw>
                </a:effectLst>
                <a:latin typeface="Verdana"/>
                <a:cs typeface="Verdana"/>
                <a:sym typeface="Arial"/>
              </a:rPr>
              <a:t>Strategies</a:t>
            </a:r>
          </a:p>
        </p:txBody>
      </p:sp>
      <p:sp>
        <p:nvSpPr>
          <p:cNvPr id="14" name="Chevron 13"/>
          <p:cNvSpPr/>
          <p:nvPr>
            <p:custDataLst>
              <p:tags r:id="rId4"/>
            </p:custDataLst>
          </p:nvPr>
        </p:nvSpPr>
        <p:spPr bwMode="auto">
          <a:xfrm rot="5400000">
            <a:off x="-2565248" y="8040554"/>
            <a:ext cx="8091743" cy="2649548"/>
          </a:xfrm>
          <a:prstGeom prst="chevron">
            <a:avLst>
              <a:gd name="adj" fmla="val 26676"/>
            </a:avLst>
          </a:prstGeom>
          <a:solidFill>
            <a:schemeClr val="accent1">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60131" tIns="130066" rIns="260131" bIns="130066" anchor="ctr"/>
          <a:lstStyle/>
          <a:p>
            <a:pPr algn="ctr">
              <a:defRPr/>
            </a:pPr>
            <a:endParaRPr lang="en-US" sz="4000" dirty="0">
              <a:solidFill>
                <a:schemeClr val="tx1"/>
              </a:solidFill>
              <a:latin typeface="Arial" pitchFamily="34" charset="0"/>
              <a:cs typeface="Arial" pitchFamily="34" charset="0"/>
            </a:endParaRPr>
          </a:p>
        </p:txBody>
      </p:sp>
      <p:sp>
        <p:nvSpPr>
          <p:cNvPr id="15" name="Rectangle 14"/>
          <p:cNvSpPr/>
          <p:nvPr>
            <p:custDataLst>
              <p:tags r:id="rId5"/>
            </p:custDataLst>
          </p:nvPr>
        </p:nvSpPr>
        <p:spPr bwMode="gray">
          <a:xfrm>
            <a:off x="155853" y="6019800"/>
            <a:ext cx="2620706" cy="6705600"/>
          </a:xfrm>
          <a:prstGeom prst="rect">
            <a:avLst/>
          </a:prstGeom>
          <a:noFill/>
          <a:ln>
            <a:no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3200" b="1" dirty="0">
                <a:solidFill>
                  <a:schemeClr val="bg1"/>
                </a:solidFill>
                <a:effectLst>
                  <a:outerShdw blurRad="50800" dist="38100" dir="2700000" algn="tl" rotWithShape="0">
                    <a:prstClr val="black">
                      <a:alpha val="40000"/>
                    </a:prstClr>
                  </a:outerShdw>
                </a:effectLst>
                <a:latin typeface="Verdana"/>
                <a:cs typeface="Verdana"/>
                <a:sym typeface="Arial"/>
              </a:rPr>
              <a:t>Tactics</a:t>
            </a:r>
          </a:p>
        </p:txBody>
      </p:sp>
      <p:sp>
        <p:nvSpPr>
          <p:cNvPr id="9" name="Title 1"/>
          <p:cNvSpPr>
            <a:spLocks noGrp="1"/>
          </p:cNvSpPr>
          <p:nvPr>
            <p:ph type="title"/>
          </p:nvPr>
        </p:nvSpPr>
        <p:spPr>
          <a:xfrm>
            <a:off x="16306800" y="457200"/>
            <a:ext cx="7467600" cy="2286000"/>
          </a:xfrm>
        </p:spPr>
        <p:txBody>
          <a:bodyPr/>
          <a:lstStyle/>
          <a:p>
            <a:r>
              <a:rPr lang="en-US" dirty="0" smtClean="0"/>
              <a:t>Goal Mapping</a:t>
            </a:r>
            <a:endParaRPr lang="en-US" dirty="0"/>
          </a:p>
        </p:txBody>
      </p:sp>
    </p:spTree>
    <p:extLst>
      <p:ext uri="{BB962C8B-B14F-4D97-AF65-F5344CB8AC3E}">
        <p14:creationId xmlns:p14="http://schemas.microsoft.com/office/powerpoint/2010/main" val="2569335686"/>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Shape 36"/>
          <p:cNvSpPr/>
          <p:nvPr/>
        </p:nvSpPr>
        <p:spPr>
          <a:xfrm>
            <a:off x="18288000" y="1905000"/>
            <a:ext cx="5181599" cy="1292662"/>
          </a:xfrm>
          <a:prstGeom prst="rect">
            <a:avLst/>
          </a:prstGeom>
          <a:ln w="12700">
            <a:miter lim="400000"/>
          </a:ln>
          <a:extLst>
            <a:ext uri="{C572A759-6A51-4108-AA02-DFA0A04FC94B}">
              <ma14:wrappingTextBoxFlag xmlns:ma14="http://schemas.microsoft.com/office/mac/drawingml/2011/main" val="1"/>
            </a:ext>
          </a:extLst>
        </p:spPr>
        <p:txBody>
          <a:bodyPr wrap="square" lIns="0" tIns="0" rIns="0" bIns="0">
            <a:spAutoFit/>
          </a:bodyPr>
          <a:lstStyle/>
          <a:p>
            <a:pPr lvl="0" algn="l">
              <a:lnSpc>
                <a:spcPct val="100000"/>
              </a:lnSpc>
              <a:defRPr sz="1800"/>
            </a:pPr>
            <a:r>
              <a:rPr lang="en-US" sz="2800" kern="0" dirty="0" smtClean="0">
                <a:solidFill>
                  <a:schemeClr val="tx1">
                    <a:lumMod val="90000"/>
                    <a:lumOff val="10000"/>
                  </a:schemeClr>
                </a:solidFill>
                <a:effectLst>
                  <a:glow rad="152400">
                    <a:schemeClr val="bg1">
                      <a:alpha val="75000"/>
                    </a:schemeClr>
                  </a:glow>
                </a:effectLst>
                <a:latin typeface="Proxima Nova"/>
                <a:ea typeface="Gill Sans Light"/>
                <a:cs typeface="Proxima Nova"/>
                <a:sym typeface="Gill Sans Light"/>
              </a:rPr>
              <a:t>Your </a:t>
            </a:r>
            <a:r>
              <a:rPr lang="en-US" sz="2800" b="1" kern="0" dirty="0" smtClean="0">
                <a:solidFill>
                  <a:schemeClr val="tx1">
                    <a:lumMod val="90000"/>
                    <a:lumOff val="10000"/>
                  </a:schemeClr>
                </a:solidFill>
                <a:effectLst>
                  <a:glow rad="152400">
                    <a:schemeClr val="bg1">
                      <a:alpha val="75000"/>
                    </a:schemeClr>
                  </a:glow>
                </a:effectLst>
                <a:latin typeface="Proxima Nova"/>
                <a:ea typeface="Gill Sans Light"/>
                <a:cs typeface="Proxima Nova"/>
                <a:sym typeface="Gill Sans Light"/>
              </a:rPr>
              <a:t>company metric </a:t>
            </a:r>
            <a:r>
              <a:rPr lang="en-US" sz="2800" kern="0" dirty="0" smtClean="0">
                <a:solidFill>
                  <a:schemeClr val="tx1">
                    <a:lumMod val="90000"/>
                    <a:lumOff val="10000"/>
                  </a:schemeClr>
                </a:solidFill>
                <a:effectLst>
                  <a:glow rad="152400">
                    <a:schemeClr val="bg1">
                      <a:alpha val="75000"/>
                    </a:schemeClr>
                  </a:glow>
                </a:effectLst>
                <a:latin typeface="Proxima Nova"/>
                <a:ea typeface="Gill Sans Light"/>
                <a:cs typeface="Proxima Nova"/>
                <a:sym typeface="Gill Sans Light"/>
              </a:rPr>
              <a:t>measures a high-level goal: an increase in </a:t>
            </a:r>
            <a:r>
              <a:rPr lang="en-US" sz="2800" b="1" kern="0" dirty="0" smtClean="0">
                <a:solidFill>
                  <a:schemeClr val="tx1">
                    <a:lumMod val="90000"/>
                    <a:lumOff val="10000"/>
                  </a:schemeClr>
                </a:solidFill>
                <a:effectLst>
                  <a:glow rad="152400">
                    <a:schemeClr val="bg1">
                      <a:alpha val="75000"/>
                    </a:schemeClr>
                  </a:glow>
                </a:effectLst>
                <a:latin typeface="Proxima Nova"/>
                <a:ea typeface="Gill Sans Light"/>
                <a:cs typeface="Proxima Nova"/>
                <a:sym typeface="Gill Sans Light"/>
              </a:rPr>
              <a:t>revenue</a:t>
            </a:r>
            <a:r>
              <a:rPr lang="en-US" sz="2800" kern="0" dirty="0" smtClean="0">
                <a:solidFill>
                  <a:schemeClr val="tx1">
                    <a:lumMod val="90000"/>
                    <a:lumOff val="10000"/>
                  </a:schemeClr>
                </a:solidFill>
                <a:effectLst>
                  <a:glow rad="152400">
                    <a:schemeClr val="bg1">
                      <a:alpha val="75000"/>
                    </a:schemeClr>
                  </a:glow>
                </a:effectLst>
                <a:latin typeface="Proxima Nova"/>
                <a:ea typeface="Gill Sans Light"/>
                <a:cs typeface="Proxima Nova"/>
                <a:sym typeface="Gill Sans Light"/>
              </a:rPr>
              <a:t> for example.</a:t>
            </a:r>
            <a:endParaRPr sz="2800" kern="0" dirty="0">
              <a:solidFill>
                <a:schemeClr val="tx1">
                  <a:lumMod val="90000"/>
                  <a:lumOff val="10000"/>
                </a:schemeClr>
              </a:solidFill>
              <a:effectLst>
                <a:glow rad="152400">
                  <a:schemeClr val="bg1">
                    <a:alpha val="75000"/>
                  </a:schemeClr>
                </a:glow>
              </a:effectLst>
              <a:latin typeface="Proxima Nova"/>
              <a:ea typeface="Gill Sans Light"/>
              <a:cs typeface="Proxima Nova"/>
              <a:sym typeface="Gill Sans Light"/>
            </a:endParaRPr>
          </a:p>
        </p:txBody>
      </p:sp>
      <p:grpSp>
        <p:nvGrpSpPr>
          <p:cNvPr id="3" name="Group 2"/>
          <p:cNvGrpSpPr/>
          <p:nvPr/>
        </p:nvGrpSpPr>
        <p:grpSpPr>
          <a:xfrm>
            <a:off x="5840447" y="1371600"/>
            <a:ext cx="17207665" cy="11591430"/>
            <a:chOff x="5266559" y="1447800"/>
            <a:chExt cx="17759862" cy="11963399"/>
          </a:xfrm>
        </p:grpSpPr>
        <p:sp>
          <p:nvSpPr>
            <p:cNvPr id="4" name="Freeform 3"/>
            <p:cNvSpPr/>
            <p:nvPr/>
          </p:nvSpPr>
          <p:spPr>
            <a:xfrm>
              <a:off x="5266559" y="1447800"/>
              <a:ext cx="12032955" cy="11963399"/>
            </a:xfrm>
            <a:custGeom>
              <a:avLst/>
              <a:gdLst>
                <a:gd name="connsiteX0" fmla="*/ 0 w 12877799"/>
                <a:gd name="connsiteY0" fmla="*/ 6438900 h 12877799"/>
                <a:gd name="connsiteX1" fmla="*/ 6438900 w 12877799"/>
                <a:gd name="connsiteY1" fmla="*/ 0 h 12877799"/>
                <a:gd name="connsiteX2" fmla="*/ 12877800 w 12877799"/>
                <a:gd name="connsiteY2" fmla="*/ 6438900 h 12877799"/>
                <a:gd name="connsiteX3" fmla="*/ 6438900 w 12877799"/>
                <a:gd name="connsiteY3" fmla="*/ 12877800 h 12877799"/>
                <a:gd name="connsiteX4" fmla="*/ 0 w 12877799"/>
                <a:gd name="connsiteY4" fmla="*/ 6438900 h 12877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7799" h="12877799">
                  <a:moveTo>
                    <a:pt x="0" y="6438900"/>
                  </a:moveTo>
                  <a:cubicBezTo>
                    <a:pt x="0" y="2882794"/>
                    <a:pt x="2882794" y="0"/>
                    <a:pt x="6438900" y="0"/>
                  </a:cubicBezTo>
                  <a:cubicBezTo>
                    <a:pt x="9995006" y="0"/>
                    <a:pt x="12877800" y="2882794"/>
                    <a:pt x="12877800" y="6438900"/>
                  </a:cubicBezTo>
                  <a:cubicBezTo>
                    <a:pt x="12877800" y="9995006"/>
                    <a:pt x="9995006" y="12877800"/>
                    <a:pt x="6438900" y="12877800"/>
                  </a:cubicBezTo>
                  <a:cubicBezTo>
                    <a:pt x="2882794" y="12877800"/>
                    <a:pt x="0" y="9995006"/>
                    <a:pt x="0" y="6438900"/>
                  </a:cubicBezTo>
                  <a:close/>
                </a:path>
              </a:pathLst>
            </a:custGeom>
            <a:solidFill>
              <a:schemeClr val="accent1">
                <a:lumMod val="50000"/>
              </a:schemeClr>
            </a:solidFill>
            <a:ln w="57150" cmpd="sng">
              <a:solidFill>
                <a:schemeClr val="bg1"/>
              </a:solidFill>
            </a:ln>
          </p:spPr>
          <p:style>
            <a:lnRef idx="3">
              <a:schemeClr val="lt1">
                <a:hueOff val="0"/>
                <a:satOff val="0"/>
                <a:lumOff val="0"/>
                <a:alphaOff val="0"/>
              </a:schemeClr>
            </a:lnRef>
            <a:fillRef idx="1">
              <a:scrgbClr r="0" g="0" b="0"/>
            </a:fillRef>
            <a:effectRef idx="1">
              <a:schemeClr val="accent1">
                <a:hueOff val="0"/>
                <a:satOff val="0"/>
                <a:lumOff val="0"/>
                <a:alphaOff val="0"/>
              </a:schemeClr>
            </a:effectRef>
            <a:fontRef idx="minor">
              <a:schemeClr val="lt1"/>
            </a:fontRef>
          </p:style>
          <p:txBody>
            <a:bodyPr spcFirstLastPara="0" vert="horz" wrap="square" lIns="4880392" tIns="885697" rIns="4880391" bIns="10544048" numCol="1" spcCol="1270" anchor="ctr" anchorCtr="0">
              <a:noAutofit/>
            </a:bodyPr>
            <a:lstStyle/>
            <a:p>
              <a:pPr lvl="0" algn="ctr" defTabSz="1511300">
                <a:lnSpc>
                  <a:spcPct val="90000"/>
                </a:lnSpc>
                <a:spcBef>
                  <a:spcPct val="0"/>
                </a:spcBef>
                <a:spcAft>
                  <a:spcPct val="35000"/>
                </a:spcAft>
              </a:pPr>
              <a:r>
                <a:rPr lang="en-US" sz="3400" b="1" kern="1200" dirty="0" smtClean="0">
                  <a:effectLst>
                    <a:outerShdw blurRad="50800" dist="38100" dir="2700000" algn="tl" rotWithShape="0">
                      <a:srgbClr val="000000">
                        <a:alpha val="43000"/>
                      </a:srgbClr>
                    </a:outerShdw>
                  </a:effectLst>
                  <a:latin typeface="Proxima Nova"/>
                  <a:cs typeface="Proxima Nova"/>
                </a:rPr>
                <a:t>Company Metric</a:t>
              </a:r>
              <a:endParaRPr lang="en-US" sz="3400" b="1" kern="1200" dirty="0">
                <a:effectLst>
                  <a:outerShdw blurRad="50800" dist="38100" dir="2700000" algn="tl" rotWithShape="0">
                    <a:srgbClr val="000000">
                      <a:alpha val="43000"/>
                    </a:srgbClr>
                  </a:outerShdw>
                </a:effectLst>
                <a:latin typeface="Proxima Nova"/>
                <a:cs typeface="Proxima Nova"/>
              </a:endParaRPr>
            </a:p>
          </p:txBody>
        </p:sp>
        <p:grpSp>
          <p:nvGrpSpPr>
            <p:cNvPr id="8" name="Group 7"/>
            <p:cNvGrpSpPr/>
            <p:nvPr/>
          </p:nvGrpSpPr>
          <p:grpSpPr>
            <a:xfrm>
              <a:off x="6469855" y="3840478"/>
              <a:ext cx="16556566" cy="9570720"/>
              <a:chOff x="4725539" y="3108959"/>
              <a:chExt cx="17719012" cy="10302240"/>
            </a:xfrm>
          </p:grpSpPr>
          <p:sp>
            <p:nvSpPr>
              <p:cNvPr id="25" name="Shape 36"/>
              <p:cNvSpPr/>
              <p:nvPr/>
            </p:nvSpPr>
            <p:spPr>
              <a:xfrm>
                <a:off x="17186751" y="3242405"/>
                <a:ext cx="5257800" cy="2872231"/>
              </a:xfrm>
              <a:prstGeom prst="rect">
                <a:avLst/>
              </a:prstGeom>
              <a:ln w="12700">
                <a:miter lim="400000"/>
              </a:ln>
              <a:extLst>
                <a:ext uri="{C572A759-6A51-4108-AA02-DFA0A04FC94B}">
                  <ma14:wrappingTextBoxFlag xmlns:ma14="http://schemas.microsoft.com/office/mac/drawingml/2011/main" val="1"/>
                </a:ext>
              </a:extLst>
            </p:spPr>
            <p:txBody>
              <a:bodyPr wrap="square" lIns="0" tIns="0" rIns="0" bIns="0">
                <a:spAutoFit/>
              </a:bodyPr>
              <a:lstStyle/>
              <a:p>
                <a:pPr lvl="0" algn="l">
                  <a:lnSpc>
                    <a:spcPct val="100000"/>
                  </a:lnSpc>
                  <a:defRPr sz="1800"/>
                </a:pPr>
                <a:r>
                  <a:rPr lang="en-US" sz="2800" kern="0" dirty="0" smtClean="0">
                    <a:solidFill>
                      <a:schemeClr val="tx2">
                        <a:lumMod val="50000"/>
                      </a:schemeClr>
                    </a:solidFill>
                    <a:effectLst>
                      <a:glow rad="152400">
                        <a:schemeClr val="bg1">
                          <a:alpha val="75000"/>
                        </a:schemeClr>
                      </a:glow>
                    </a:effectLst>
                    <a:latin typeface="Proxima Nova"/>
                    <a:ea typeface="Gill Sans Light"/>
                    <a:cs typeface="Proxima Nova"/>
                    <a:sym typeface="Gill Sans Light"/>
                  </a:rPr>
                  <a:t>Each </a:t>
                </a:r>
                <a:r>
                  <a:rPr lang="en-US" sz="2800" b="1" kern="0" dirty="0" smtClean="0">
                    <a:solidFill>
                      <a:schemeClr val="tx2">
                        <a:lumMod val="50000"/>
                      </a:schemeClr>
                    </a:solidFill>
                    <a:effectLst>
                      <a:glow rad="152400">
                        <a:schemeClr val="bg1">
                          <a:alpha val="75000"/>
                        </a:schemeClr>
                      </a:glow>
                    </a:effectLst>
                    <a:latin typeface="Proxima Nova"/>
                    <a:ea typeface="Gill Sans Light"/>
                    <a:cs typeface="Proxima Nova"/>
                    <a:sym typeface="Gill Sans Light"/>
                  </a:rPr>
                  <a:t>business unit </a:t>
                </a:r>
                <a:r>
                  <a:rPr lang="en-US" sz="2800" kern="0" dirty="0" smtClean="0">
                    <a:solidFill>
                      <a:schemeClr val="tx2">
                        <a:lumMod val="50000"/>
                      </a:schemeClr>
                    </a:solidFill>
                    <a:effectLst>
                      <a:glow rad="152400">
                        <a:schemeClr val="bg1">
                          <a:alpha val="75000"/>
                        </a:schemeClr>
                      </a:glow>
                    </a:effectLst>
                    <a:latin typeface="Proxima Nova"/>
                    <a:ea typeface="Gill Sans Light"/>
                    <a:cs typeface="Proxima Nova"/>
                    <a:sym typeface="Gill Sans Light"/>
                  </a:rPr>
                  <a:t>takes a different approach to that metric. For example, the Marketing department might focus on increasing the </a:t>
                </a:r>
                <a:r>
                  <a:rPr lang="en-US" sz="2800" b="1" kern="0" dirty="0" smtClean="0">
                    <a:solidFill>
                      <a:schemeClr val="tx2">
                        <a:lumMod val="50000"/>
                      </a:schemeClr>
                    </a:solidFill>
                    <a:effectLst>
                      <a:glow rad="152400">
                        <a:schemeClr val="bg1">
                          <a:alpha val="75000"/>
                        </a:schemeClr>
                      </a:glow>
                    </a:effectLst>
                    <a:latin typeface="Proxima Nova"/>
                    <a:ea typeface="Gill Sans Light"/>
                    <a:cs typeface="Proxima Nova"/>
                    <a:sym typeface="Gill Sans Light"/>
                  </a:rPr>
                  <a:t>revenue per visitor </a:t>
                </a:r>
                <a:r>
                  <a:rPr lang="en-US" sz="2800" kern="0" dirty="0" smtClean="0">
                    <a:solidFill>
                      <a:schemeClr val="tx2">
                        <a:lumMod val="50000"/>
                      </a:schemeClr>
                    </a:solidFill>
                    <a:effectLst>
                      <a:glow rad="152400">
                        <a:schemeClr val="bg1">
                          <a:alpha val="75000"/>
                        </a:schemeClr>
                      </a:glow>
                    </a:effectLst>
                    <a:latin typeface="Proxima Nova"/>
                    <a:ea typeface="Gill Sans Light"/>
                    <a:cs typeface="Proxima Nova"/>
                    <a:sym typeface="Gill Sans Light"/>
                  </a:rPr>
                  <a:t>(RPV). </a:t>
                </a:r>
              </a:p>
            </p:txBody>
          </p:sp>
          <p:sp>
            <p:nvSpPr>
              <p:cNvPr id="5" name="Freeform 4"/>
              <p:cNvSpPr/>
              <p:nvPr/>
            </p:nvSpPr>
            <p:spPr>
              <a:xfrm>
                <a:off x="4725539" y="3108959"/>
                <a:ext cx="10302240" cy="10302240"/>
              </a:xfrm>
              <a:custGeom>
                <a:avLst/>
                <a:gdLst>
                  <a:gd name="connsiteX0" fmla="*/ 0 w 10302240"/>
                  <a:gd name="connsiteY0" fmla="*/ 5151120 h 10302240"/>
                  <a:gd name="connsiteX1" fmla="*/ 5151120 w 10302240"/>
                  <a:gd name="connsiteY1" fmla="*/ 0 h 10302240"/>
                  <a:gd name="connsiteX2" fmla="*/ 10302240 w 10302240"/>
                  <a:gd name="connsiteY2" fmla="*/ 5151120 h 10302240"/>
                  <a:gd name="connsiteX3" fmla="*/ 5151120 w 10302240"/>
                  <a:gd name="connsiteY3" fmla="*/ 10302240 h 10302240"/>
                  <a:gd name="connsiteX4" fmla="*/ 0 w 10302240"/>
                  <a:gd name="connsiteY4" fmla="*/ 5151120 h 10302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02240" h="10302240">
                    <a:moveTo>
                      <a:pt x="0" y="5151120"/>
                    </a:moveTo>
                    <a:cubicBezTo>
                      <a:pt x="0" y="2306235"/>
                      <a:pt x="2306235" y="0"/>
                      <a:pt x="5151120" y="0"/>
                    </a:cubicBezTo>
                    <a:cubicBezTo>
                      <a:pt x="7996005" y="0"/>
                      <a:pt x="10302240" y="2306235"/>
                      <a:pt x="10302240" y="5151120"/>
                    </a:cubicBezTo>
                    <a:cubicBezTo>
                      <a:pt x="10302240" y="7996005"/>
                      <a:pt x="7996005" y="10302240"/>
                      <a:pt x="5151120" y="10302240"/>
                    </a:cubicBezTo>
                    <a:cubicBezTo>
                      <a:pt x="2306235" y="10302240"/>
                      <a:pt x="0" y="7996005"/>
                      <a:pt x="0" y="5151120"/>
                    </a:cubicBezTo>
                    <a:close/>
                  </a:path>
                </a:pathLst>
              </a:custGeom>
              <a:solidFill>
                <a:schemeClr val="accent1">
                  <a:lumMod val="75000"/>
                </a:schemeClr>
              </a:solidFill>
            </p:spPr>
            <p:style>
              <a:lnRef idx="3">
                <a:schemeClr val="lt1">
                  <a:hueOff val="0"/>
                  <a:satOff val="0"/>
                  <a:lumOff val="0"/>
                  <a:alphaOff val="0"/>
                </a:schemeClr>
              </a:lnRef>
              <a:fillRef idx="1">
                <a:scrgbClr r="0" g="0" b="0"/>
              </a:fillRef>
              <a:effectRef idx="1">
                <a:schemeClr val="accent1">
                  <a:hueOff val="0"/>
                  <a:satOff val="0"/>
                  <a:lumOff val="0"/>
                  <a:alphaOff val="0"/>
                </a:schemeClr>
              </a:effectRef>
              <a:fontRef idx="minor">
                <a:schemeClr val="lt1"/>
              </a:fontRef>
            </p:style>
            <p:txBody>
              <a:bodyPr spcFirstLastPara="0" vert="horz" wrap="square" lIns="3592612" tIns="859943" rIns="3592612" bIns="8071510" numCol="1" spcCol="1270" anchor="ctr" anchorCtr="0">
                <a:noAutofit/>
              </a:bodyPr>
              <a:lstStyle/>
              <a:p>
                <a:pPr lvl="0" algn="ctr" defTabSz="1511300">
                  <a:lnSpc>
                    <a:spcPct val="90000"/>
                  </a:lnSpc>
                  <a:spcBef>
                    <a:spcPct val="0"/>
                  </a:spcBef>
                  <a:spcAft>
                    <a:spcPct val="35000"/>
                  </a:spcAft>
                </a:pPr>
                <a:r>
                  <a:rPr lang="en-US" sz="3400" b="1" kern="1200" dirty="0" smtClean="0">
                    <a:effectLst>
                      <a:outerShdw blurRad="50800" dist="38100" dir="2700000" algn="tl" rotWithShape="0">
                        <a:srgbClr val="000000">
                          <a:alpha val="43000"/>
                        </a:srgbClr>
                      </a:outerShdw>
                    </a:effectLst>
                    <a:latin typeface="Proxima Nova"/>
                    <a:cs typeface="Proxima Nova"/>
                  </a:rPr>
                  <a:t>Business Unit</a:t>
                </a:r>
                <a:endParaRPr lang="en-US" sz="3400" b="1" kern="1200" dirty="0">
                  <a:effectLst>
                    <a:outerShdw blurRad="50800" dist="38100" dir="2700000" algn="tl" rotWithShape="0">
                      <a:srgbClr val="000000">
                        <a:alpha val="43000"/>
                      </a:srgbClr>
                    </a:outerShdw>
                  </a:effectLst>
                  <a:latin typeface="Proxima Nova"/>
                  <a:cs typeface="Proxima Nova"/>
                </a:endParaRPr>
              </a:p>
            </p:txBody>
          </p:sp>
        </p:grpSp>
        <p:grpSp>
          <p:nvGrpSpPr>
            <p:cNvPr id="9" name="Group 8"/>
            <p:cNvGrpSpPr/>
            <p:nvPr/>
          </p:nvGrpSpPr>
          <p:grpSpPr>
            <a:xfrm>
              <a:off x="7673150" y="6233159"/>
              <a:ext cx="14760683" cy="7178040"/>
              <a:chOff x="6013319" y="5684519"/>
              <a:chExt cx="15797043" cy="7726680"/>
            </a:xfrm>
          </p:grpSpPr>
          <p:sp>
            <p:nvSpPr>
              <p:cNvPr id="26" name="Shape 36"/>
              <p:cNvSpPr/>
              <p:nvPr/>
            </p:nvSpPr>
            <p:spPr>
              <a:xfrm>
                <a:off x="18059400" y="8686800"/>
                <a:ext cx="3750962" cy="610424"/>
              </a:xfrm>
              <a:prstGeom prst="rect">
                <a:avLst/>
              </a:prstGeom>
              <a:ln w="12700">
                <a:miter lim="400000"/>
              </a:ln>
              <a:extLst>
                <a:ext uri="{C572A759-6A51-4108-AA02-DFA0A04FC94B}">
                  <ma14:wrappingTextBoxFlag xmlns:ma14="http://schemas.microsoft.com/office/mac/drawingml/2011/main" val="1"/>
                </a:ext>
              </a:extLst>
            </p:spPr>
            <p:txBody>
              <a:bodyPr wrap="square" lIns="0" tIns="0" rIns="0" bIns="0">
                <a:spAutoFit/>
              </a:bodyPr>
              <a:lstStyle/>
              <a:p>
                <a:pPr lvl="0" algn="l">
                  <a:defRPr sz="1800"/>
                </a:pPr>
                <a:endParaRPr sz="3400" dirty="0">
                  <a:solidFill>
                    <a:schemeClr val="accent1"/>
                  </a:solidFill>
                  <a:effectLst>
                    <a:glow rad="152400">
                      <a:schemeClr val="bg1">
                        <a:alpha val="75000"/>
                      </a:schemeClr>
                    </a:glow>
                  </a:effectLst>
                  <a:latin typeface="Proxima Nova"/>
                  <a:ea typeface="Gill Sans Light"/>
                  <a:cs typeface="Proxima Nova"/>
                  <a:sym typeface="Gill Sans Light"/>
                </a:endParaRPr>
              </a:p>
            </p:txBody>
          </p:sp>
          <p:sp>
            <p:nvSpPr>
              <p:cNvPr id="6" name="Freeform 5"/>
              <p:cNvSpPr/>
              <p:nvPr/>
            </p:nvSpPr>
            <p:spPr>
              <a:xfrm>
                <a:off x="6013319" y="5684519"/>
                <a:ext cx="7726680" cy="7726680"/>
              </a:xfrm>
              <a:custGeom>
                <a:avLst/>
                <a:gdLst>
                  <a:gd name="connsiteX0" fmla="*/ 0 w 7726680"/>
                  <a:gd name="connsiteY0" fmla="*/ 3863340 h 7726680"/>
                  <a:gd name="connsiteX1" fmla="*/ 3863340 w 7726680"/>
                  <a:gd name="connsiteY1" fmla="*/ 0 h 7726680"/>
                  <a:gd name="connsiteX2" fmla="*/ 7726680 w 7726680"/>
                  <a:gd name="connsiteY2" fmla="*/ 3863340 h 7726680"/>
                  <a:gd name="connsiteX3" fmla="*/ 3863340 w 7726680"/>
                  <a:gd name="connsiteY3" fmla="*/ 7726680 h 7726680"/>
                  <a:gd name="connsiteX4" fmla="*/ 0 w 7726680"/>
                  <a:gd name="connsiteY4" fmla="*/ 3863340 h 7726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26680" h="7726680">
                    <a:moveTo>
                      <a:pt x="0" y="3863340"/>
                    </a:moveTo>
                    <a:cubicBezTo>
                      <a:pt x="0" y="1729676"/>
                      <a:pt x="1729676" y="0"/>
                      <a:pt x="3863340" y="0"/>
                    </a:cubicBezTo>
                    <a:cubicBezTo>
                      <a:pt x="5997004" y="0"/>
                      <a:pt x="7726680" y="1729676"/>
                      <a:pt x="7726680" y="3863340"/>
                    </a:cubicBezTo>
                    <a:cubicBezTo>
                      <a:pt x="7726680" y="5997004"/>
                      <a:pt x="5997004" y="7726680"/>
                      <a:pt x="3863340" y="7726680"/>
                    </a:cubicBezTo>
                    <a:cubicBezTo>
                      <a:pt x="1729676" y="7726680"/>
                      <a:pt x="0" y="5997004"/>
                      <a:pt x="0" y="3863340"/>
                    </a:cubicBezTo>
                    <a:close/>
                  </a:path>
                </a:pathLst>
              </a:custGeom>
              <a:solidFill>
                <a:schemeClr val="accent1"/>
              </a:solidFill>
            </p:spPr>
            <p:style>
              <a:lnRef idx="3">
                <a:schemeClr val="lt1">
                  <a:hueOff val="0"/>
                  <a:satOff val="0"/>
                  <a:lumOff val="0"/>
                  <a:alphaOff val="0"/>
                </a:schemeClr>
              </a:lnRef>
              <a:fillRef idx="1">
                <a:scrgbClr r="0" g="0" b="0"/>
              </a:fillRef>
              <a:effectRef idx="1">
                <a:schemeClr val="accent1">
                  <a:hueOff val="0"/>
                  <a:satOff val="0"/>
                  <a:lumOff val="0"/>
                  <a:alphaOff val="0"/>
                </a:schemeClr>
              </a:effectRef>
              <a:fontRef idx="minor">
                <a:schemeClr val="lt1"/>
              </a:fontRef>
            </p:style>
            <p:txBody>
              <a:bodyPr spcFirstLastPara="0" vert="horz" wrap="square" lIns="2304832" tIns="821309" rIns="2304832" bIns="5650484" numCol="1" spcCol="1270" anchor="ctr" anchorCtr="0">
                <a:noAutofit/>
              </a:bodyPr>
              <a:lstStyle/>
              <a:p>
                <a:pPr lvl="0" algn="ctr" defTabSz="1511300">
                  <a:lnSpc>
                    <a:spcPct val="90000"/>
                  </a:lnSpc>
                  <a:spcBef>
                    <a:spcPct val="0"/>
                  </a:spcBef>
                  <a:spcAft>
                    <a:spcPct val="35000"/>
                  </a:spcAft>
                </a:pPr>
                <a:r>
                  <a:rPr lang="en-US" sz="3400" b="1" kern="1200" dirty="0" smtClean="0">
                    <a:effectLst>
                      <a:outerShdw blurRad="50800" dist="38100" dir="2700000" algn="tl" rotWithShape="0">
                        <a:srgbClr val="000000">
                          <a:alpha val="43000"/>
                        </a:srgbClr>
                      </a:outerShdw>
                    </a:effectLst>
                    <a:latin typeface="Proxima Nova"/>
                    <a:cs typeface="Proxima Nova"/>
                  </a:rPr>
                  <a:t>Optimization Goals</a:t>
                </a:r>
                <a:endParaRPr lang="en-US" sz="3400" b="1" kern="1200" dirty="0">
                  <a:effectLst>
                    <a:outerShdw blurRad="50800" dist="38100" dir="2700000" algn="tl" rotWithShape="0">
                      <a:srgbClr val="000000">
                        <a:alpha val="43000"/>
                      </a:srgbClr>
                    </a:outerShdw>
                  </a:effectLst>
                  <a:latin typeface="Proxima Nova"/>
                  <a:cs typeface="Proxima Nova"/>
                </a:endParaRPr>
              </a:p>
            </p:txBody>
          </p:sp>
        </p:grpSp>
        <p:sp>
          <p:nvSpPr>
            <p:cNvPr id="7" name="Freeform 6"/>
            <p:cNvSpPr/>
            <p:nvPr/>
          </p:nvSpPr>
          <p:spPr>
            <a:xfrm>
              <a:off x="8876446" y="8625839"/>
              <a:ext cx="4813182" cy="4785360"/>
            </a:xfrm>
            <a:custGeom>
              <a:avLst/>
              <a:gdLst>
                <a:gd name="connsiteX0" fmla="*/ 0 w 5151120"/>
                <a:gd name="connsiteY0" fmla="*/ 2575560 h 5151120"/>
                <a:gd name="connsiteX1" fmla="*/ 2575560 w 5151120"/>
                <a:gd name="connsiteY1" fmla="*/ 0 h 5151120"/>
                <a:gd name="connsiteX2" fmla="*/ 5151120 w 5151120"/>
                <a:gd name="connsiteY2" fmla="*/ 2575560 h 5151120"/>
                <a:gd name="connsiteX3" fmla="*/ 2575560 w 5151120"/>
                <a:gd name="connsiteY3" fmla="*/ 5151120 h 5151120"/>
                <a:gd name="connsiteX4" fmla="*/ 0 w 5151120"/>
                <a:gd name="connsiteY4" fmla="*/ 2575560 h 5151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1120" h="5151120">
                  <a:moveTo>
                    <a:pt x="0" y="2575560"/>
                  </a:moveTo>
                  <a:cubicBezTo>
                    <a:pt x="0" y="1153117"/>
                    <a:pt x="1153117" y="0"/>
                    <a:pt x="2575560" y="0"/>
                  </a:cubicBezTo>
                  <a:cubicBezTo>
                    <a:pt x="3998003" y="0"/>
                    <a:pt x="5151120" y="1153117"/>
                    <a:pt x="5151120" y="2575560"/>
                  </a:cubicBezTo>
                  <a:cubicBezTo>
                    <a:pt x="5151120" y="3998003"/>
                    <a:pt x="3998003" y="5151120"/>
                    <a:pt x="2575560" y="5151120"/>
                  </a:cubicBezTo>
                  <a:cubicBezTo>
                    <a:pt x="1153117" y="5151120"/>
                    <a:pt x="0" y="3998003"/>
                    <a:pt x="0" y="2575560"/>
                  </a:cubicBezTo>
                  <a:close/>
                </a:path>
              </a:pathLst>
            </a:custGeom>
            <a:solidFill>
              <a:schemeClr val="accent1">
                <a:lumMod val="60000"/>
                <a:lumOff val="40000"/>
              </a:schemeClr>
            </a:solidFill>
          </p:spPr>
          <p:style>
            <a:lnRef idx="3">
              <a:schemeClr val="lt1">
                <a:hueOff val="0"/>
                <a:satOff val="0"/>
                <a:lumOff val="0"/>
                <a:alphaOff val="0"/>
              </a:schemeClr>
            </a:lnRef>
            <a:fillRef idx="1">
              <a:scrgbClr r="0" g="0" b="0"/>
            </a:fillRef>
            <a:effectRef idx="1">
              <a:schemeClr val="accent1">
                <a:hueOff val="0"/>
                <a:satOff val="0"/>
                <a:lumOff val="0"/>
                <a:alphaOff val="0"/>
              </a:schemeClr>
            </a:effectRef>
            <a:fontRef idx="minor">
              <a:schemeClr val="lt1"/>
            </a:fontRef>
          </p:style>
          <p:txBody>
            <a:bodyPr spcFirstLastPara="0" vert="horz" wrap="square" lIns="996172" tIns="1529588" rIns="996173" bIns="1529588" numCol="1" spcCol="1270" anchor="ctr" anchorCtr="0">
              <a:noAutofit/>
            </a:bodyPr>
            <a:lstStyle/>
            <a:p>
              <a:pPr lvl="0" algn="ctr" defTabSz="1511300">
                <a:lnSpc>
                  <a:spcPct val="90000"/>
                </a:lnSpc>
                <a:spcBef>
                  <a:spcPct val="0"/>
                </a:spcBef>
                <a:spcAft>
                  <a:spcPct val="35000"/>
                </a:spcAft>
              </a:pPr>
              <a:r>
                <a:rPr lang="en-US" sz="3400" b="1" kern="1200" dirty="0" smtClean="0">
                  <a:effectLst>
                    <a:outerShdw blurRad="50800" dist="38100" dir="2700000" algn="tl" rotWithShape="0">
                      <a:srgbClr val="000000">
                        <a:alpha val="43000"/>
                      </a:srgbClr>
                    </a:outerShdw>
                  </a:effectLst>
                  <a:latin typeface="Proxima Nova"/>
                  <a:cs typeface="Proxima Nova"/>
                </a:rPr>
                <a:t>Experiment Goals</a:t>
              </a:r>
              <a:endParaRPr lang="en-US" sz="3400" b="1" kern="1200" dirty="0">
                <a:effectLst>
                  <a:outerShdw blurRad="50800" dist="38100" dir="2700000" algn="tl" rotWithShape="0">
                    <a:srgbClr val="000000">
                      <a:alpha val="43000"/>
                    </a:srgbClr>
                  </a:outerShdw>
                </a:effectLst>
                <a:latin typeface="Proxima Nova"/>
                <a:cs typeface="Proxima Nova"/>
              </a:endParaRPr>
            </a:p>
          </p:txBody>
        </p:sp>
      </p:grpSp>
      <p:sp>
        <p:nvSpPr>
          <p:cNvPr id="13" name="Title 1"/>
          <p:cNvSpPr>
            <a:spLocks noGrp="1"/>
          </p:cNvSpPr>
          <p:nvPr>
            <p:ph type="title"/>
          </p:nvPr>
        </p:nvSpPr>
        <p:spPr>
          <a:xfrm>
            <a:off x="609600" y="533400"/>
            <a:ext cx="5058833" cy="5715000"/>
          </a:xfrm>
        </p:spPr>
        <p:txBody>
          <a:bodyPr/>
          <a:lstStyle/>
          <a:p>
            <a:pPr algn="l"/>
            <a:r>
              <a:rPr lang="en-US" sz="2800" dirty="0" smtClean="0">
                <a:solidFill>
                  <a:schemeClr val="tx2">
                    <a:lumMod val="50000"/>
                  </a:schemeClr>
                </a:solidFill>
                <a:latin typeface="Proxima Nova"/>
                <a:cs typeface="Proxima Nova"/>
              </a:rPr>
              <a:t>Before </a:t>
            </a:r>
            <a:r>
              <a:rPr lang="en-US" sz="2800" dirty="0">
                <a:solidFill>
                  <a:schemeClr val="tx2">
                    <a:lumMod val="50000"/>
                  </a:schemeClr>
                </a:solidFill>
                <a:latin typeface="Proxima Nova"/>
                <a:cs typeface="Proxima Nova"/>
              </a:rPr>
              <a:t>you build a goal tree</a:t>
            </a:r>
            <a:r>
              <a:rPr lang="en-US" sz="2800" dirty="0" smtClean="0">
                <a:solidFill>
                  <a:schemeClr val="tx2">
                    <a:lumMod val="50000"/>
                  </a:schemeClr>
                </a:solidFill>
                <a:latin typeface="Proxima Nova"/>
                <a:cs typeface="Proxima Nova"/>
              </a:rPr>
              <a:t>, let’s </a:t>
            </a:r>
            <a:r>
              <a:rPr lang="en-US" sz="2800" dirty="0">
                <a:solidFill>
                  <a:schemeClr val="tx2">
                    <a:lumMod val="50000"/>
                  </a:schemeClr>
                </a:solidFill>
                <a:latin typeface="Proxima Nova"/>
                <a:cs typeface="Proxima Nova"/>
              </a:rPr>
              <a:t>take a look at the </a:t>
            </a:r>
            <a:r>
              <a:rPr lang="en-US" sz="2800" dirty="0" smtClean="0">
                <a:solidFill>
                  <a:schemeClr val="tx2">
                    <a:lumMod val="50000"/>
                  </a:schemeClr>
                </a:solidFill>
                <a:latin typeface="Proxima Nova"/>
                <a:cs typeface="Proxima Nova"/>
              </a:rPr>
              <a:t>structure behind it. </a:t>
            </a:r>
            <a:br>
              <a:rPr lang="en-US" sz="2800" dirty="0" smtClean="0">
                <a:solidFill>
                  <a:schemeClr val="tx2">
                    <a:lumMod val="50000"/>
                  </a:schemeClr>
                </a:solidFill>
                <a:latin typeface="Proxima Nova"/>
                <a:cs typeface="Proxima Nova"/>
              </a:rPr>
            </a:br>
            <a:r>
              <a:rPr lang="en-US" sz="2800" dirty="0">
                <a:solidFill>
                  <a:schemeClr val="tx2">
                    <a:lumMod val="50000"/>
                  </a:schemeClr>
                </a:solidFill>
                <a:latin typeface="Proxima Nova"/>
                <a:cs typeface="Proxima Nova"/>
              </a:rPr>
              <a:t/>
            </a:r>
            <a:br>
              <a:rPr lang="en-US" sz="2800" dirty="0">
                <a:solidFill>
                  <a:schemeClr val="tx2">
                    <a:lumMod val="50000"/>
                  </a:schemeClr>
                </a:solidFill>
                <a:latin typeface="Proxima Nova"/>
                <a:cs typeface="Proxima Nova"/>
              </a:rPr>
            </a:br>
            <a:r>
              <a:rPr lang="en-US" sz="2800" b="1" dirty="0" smtClean="0">
                <a:solidFill>
                  <a:schemeClr val="tx2">
                    <a:lumMod val="50000"/>
                  </a:schemeClr>
                </a:solidFill>
                <a:latin typeface="Proxima Nova"/>
                <a:cs typeface="Proxima Nova"/>
              </a:rPr>
              <a:t>Goal trees </a:t>
            </a:r>
            <a:r>
              <a:rPr lang="en-US" sz="2800" dirty="0" smtClean="0">
                <a:solidFill>
                  <a:schemeClr val="tx2">
                    <a:lumMod val="50000"/>
                  </a:schemeClr>
                </a:solidFill>
                <a:latin typeface="Proxima Nova"/>
                <a:cs typeface="Proxima Nova"/>
              </a:rPr>
              <a:t>help you define the strategic KPIs that your program will optimize through testing and personalization.</a:t>
            </a:r>
            <a:br>
              <a:rPr lang="en-US" sz="2800" dirty="0" smtClean="0">
                <a:solidFill>
                  <a:schemeClr val="tx2">
                    <a:lumMod val="50000"/>
                  </a:schemeClr>
                </a:solidFill>
                <a:latin typeface="Proxima Nova"/>
                <a:cs typeface="Proxima Nova"/>
              </a:rPr>
            </a:br>
            <a:r>
              <a:rPr lang="en-US" sz="2800" dirty="0">
                <a:solidFill>
                  <a:schemeClr val="tx2">
                    <a:lumMod val="50000"/>
                  </a:schemeClr>
                </a:solidFill>
                <a:latin typeface="Proxima Nova"/>
                <a:cs typeface="Proxima Nova"/>
              </a:rPr>
              <a:t/>
            </a:r>
            <a:br>
              <a:rPr lang="en-US" sz="2800" dirty="0">
                <a:solidFill>
                  <a:schemeClr val="tx2">
                    <a:lumMod val="50000"/>
                  </a:schemeClr>
                </a:solidFill>
                <a:latin typeface="Proxima Nova"/>
                <a:cs typeface="Proxima Nova"/>
              </a:rPr>
            </a:br>
            <a:r>
              <a:rPr lang="en-US" sz="2800" dirty="0" smtClean="0">
                <a:solidFill>
                  <a:schemeClr val="tx2">
                    <a:lumMod val="50000"/>
                  </a:schemeClr>
                </a:solidFill>
                <a:latin typeface="Proxima Nova"/>
                <a:cs typeface="Proxima Nova"/>
              </a:rPr>
              <a:t>Notice how the company-level metric cascades directly into experiment-level goals.</a:t>
            </a:r>
            <a:endParaRPr lang="en-US" sz="2800" dirty="0">
              <a:solidFill>
                <a:schemeClr val="tx2">
                  <a:lumMod val="50000"/>
                </a:schemeClr>
              </a:solidFill>
              <a:latin typeface="Proxima Nova"/>
              <a:cs typeface="Proxima Nova"/>
            </a:endParaRPr>
          </a:p>
        </p:txBody>
      </p:sp>
      <p:sp>
        <p:nvSpPr>
          <p:cNvPr id="14" name="Shape 36"/>
          <p:cNvSpPr/>
          <p:nvPr/>
        </p:nvSpPr>
        <p:spPr>
          <a:xfrm>
            <a:off x="18288000" y="6934200"/>
            <a:ext cx="5334000" cy="1723549"/>
          </a:xfrm>
          <a:prstGeom prst="rect">
            <a:avLst/>
          </a:prstGeom>
          <a:ln w="12700">
            <a:miter lim="400000"/>
          </a:ln>
          <a:extLst>
            <a:ext uri="{C572A759-6A51-4108-AA02-DFA0A04FC94B}">
              <ma14:wrappingTextBoxFlag xmlns:ma14="http://schemas.microsoft.com/office/mac/drawingml/2011/main" val="1"/>
            </a:ext>
          </a:extLst>
        </p:spPr>
        <p:txBody>
          <a:bodyPr wrap="square" lIns="0" tIns="0" rIns="0" bIns="0">
            <a:spAutoFit/>
          </a:bodyPr>
          <a:lstStyle/>
          <a:p>
            <a:pPr lvl="0" algn="l">
              <a:lnSpc>
                <a:spcPct val="100000"/>
              </a:lnSpc>
              <a:defRPr sz="1800"/>
            </a:pPr>
            <a:r>
              <a:rPr lang="en-US" sz="2800" kern="0" dirty="0" smtClean="0">
                <a:solidFill>
                  <a:schemeClr val="tx1">
                    <a:lumMod val="90000"/>
                    <a:lumOff val="10000"/>
                  </a:schemeClr>
                </a:solidFill>
                <a:effectLst>
                  <a:glow rad="152400">
                    <a:schemeClr val="bg1">
                      <a:alpha val="75000"/>
                    </a:schemeClr>
                  </a:glow>
                </a:effectLst>
                <a:latin typeface="Proxima Nova"/>
                <a:ea typeface="Gill Sans Light"/>
                <a:cs typeface="Proxima Nova"/>
                <a:sym typeface="Gill Sans Light"/>
              </a:rPr>
              <a:t>The </a:t>
            </a:r>
            <a:r>
              <a:rPr lang="en-US" sz="2800" b="1" kern="0" dirty="0" smtClean="0">
                <a:solidFill>
                  <a:schemeClr val="tx1">
                    <a:lumMod val="90000"/>
                    <a:lumOff val="10000"/>
                  </a:schemeClr>
                </a:solidFill>
                <a:effectLst>
                  <a:glow rad="152400">
                    <a:schemeClr val="bg1">
                      <a:alpha val="75000"/>
                    </a:schemeClr>
                  </a:glow>
                </a:effectLst>
                <a:latin typeface="Proxima Nova"/>
                <a:ea typeface="Gill Sans Light"/>
                <a:cs typeface="Proxima Nova"/>
                <a:sym typeface="Gill Sans Light"/>
              </a:rPr>
              <a:t>optimization program</a:t>
            </a:r>
            <a:r>
              <a:rPr lang="en-US" sz="2800" kern="0" dirty="0" smtClean="0">
                <a:solidFill>
                  <a:schemeClr val="tx1">
                    <a:lumMod val="90000"/>
                    <a:lumOff val="10000"/>
                  </a:schemeClr>
                </a:solidFill>
                <a:effectLst>
                  <a:glow rad="152400">
                    <a:schemeClr val="bg1">
                      <a:alpha val="75000"/>
                    </a:schemeClr>
                  </a:glow>
                </a:effectLst>
                <a:latin typeface="Proxima Nova"/>
                <a:ea typeface="Gill Sans Light"/>
                <a:cs typeface="Proxima Nova"/>
                <a:sym typeface="Gill Sans Light"/>
              </a:rPr>
              <a:t> breaks down a major KPI such as RPV into more focused targets, such as </a:t>
            </a:r>
            <a:r>
              <a:rPr lang="en-US" sz="2800" b="1" kern="0" dirty="0" smtClean="0">
                <a:solidFill>
                  <a:schemeClr val="tx1">
                    <a:lumMod val="90000"/>
                    <a:lumOff val="10000"/>
                  </a:schemeClr>
                </a:solidFill>
                <a:effectLst>
                  <a:glow rad="152400">
                    <a:schemeClr val="bg1">
                      <a:alpha val="75000"/>
                    </a:schemeClr>
                  </a:glow>
                </a:effectLst>
                <a:latin typeface="Proxima Nova"/>
                <a:ea typeface="Gill Sans Light"/>
                <a:cs typeface="Proxima Nova"/>
                <a:sym typeface="Gill Sans Light"/>
              </a:rPr>
              <a:t>average order value</a:t>
            </a:r>
            <a:r>
              <a:rPr lang="en-US" sz="2800" kern="0" dirty="0" smtClean="0">
                <a:solidFill>
                  <a:schemeClr val="tx1">
                    <a:lumMod val="90000"/>
                    <a:lumOff val="10000"/>
                  </a:schemeClr>
                </a:solidFill>
                <a:effectLst>
                  <a:glow rad="152400">
                    <a:schemeClr val="bg1">
                      <a:alpha val="75000"/>
                    </a:schemeClr>
                  </a:glow>
                </a:effectLst>
                <a:latin typeface="Proxima Nova"/>
                <a:ea typeface="Gill Sans Light"/>
                <a:cs typeface="Proxima Nova"/>
                <a:sym typeface="Gill Sans Light"/>
              </a:rPr>
              <a:t> (AOV).</a:t>
            </a:r>
          </a:p>
        </p:txBody>
      </p:sp>
      <p:sp>
        <p:nvSpPr>
          <p:cNvPr id="15" name="Shape 36"/>
          <p:cNvSpPr/>
          <p:nvPr/>
        </p:nvSpPr>
        <p:spPr>
          <a:xfrm>
            <a:off x="18288000" y="9220200"/>
            <a:ext cx="5638800" cy="2154436"/>
          </a:xfrm>
          <a:prstGeom prst="rect">
            <a:avLst/>
          </a:prstGeom>
          <a:ln w="12700">
            <a:miter lim="400000"/>
          </a:ln>
          <a:extLst>
            <a:ext uri="{C572A759-6A51-4108-AA02-DFA0A04FC94B}">
              <ma14:wrappingTextBoxFlag xmlns:ma14="http://schemas.microsoft.com/office/mac/drawingml/2011/main" val="1"/>
            </a:ext>
          </a:extLst>
        </p:spPr>
        <p:txBody>
          <a:bodyPr wrap="square" lIns="0" tIns="0" rIns="0" bIns="0">
            <a:spAutoFit/>
          </a:bodyPr>
          <a:lstStyle/>
          <a:p>
            <a:pPr lvl="0" algn="l">
              <a:lnSpc>
                <a:spcPct val="100000"/>
              </a:lnSpc>
              <a:defRPr sz="1800"/>
            </a:pPr>
            <a:r>
              <a:rPr lang="en-US" sz="2800" kern="0" dirty="0" smtClean="0">
                <a:solidFill>
                  <a:schemeClr val="tx1">
                    <a:lumMod val="90000"/>
                    <a:lumOff val="10000"/>
                  </a:schemeClr>
                </a:solidFill>
                <a:effectLst>
                  <a:glow rad="152400">
                    <a:schemeClr val="bg1">
                      <a:alpha val="75000"/>
                    </a:schemeClr>
                  </a:glow>
                </a:effectLst>
                <a:latin typeface="Proxima Nova"/>
                <a:ea typeface="Gill Sans Light"/>
                <a:cs typeface="Proxima Nova"/>
                <a:sym typeface="Gill Sans Light"/>
              </a:rPr>
              <a:t>Individual experiments test ways to create lift in the metrics that matter to the program. One might improve the AOV by optimizing the </a:t>
            </a:r>
            <a:r>
              <a:rPr lang="en-US" sz="2800" b="1" kern="0" dirty="0" smtClean="0">
                <a:solidFill>
                  <a:schemeClr val="tx1">
                    <a:lumMod val="90000"/>
                    <a:lumOff val="10000"/>
                  </a:schemeClr>
                </a:solidFill>
                <a:effectLst>
                  <a:glow rad="152400">
                    <a:schemeClr val="bg1">
                      <a:alpha val="75000"/>
                    </a:schemeClr>
                  </a:glow>
                </a:effectLst>
                <a:latin typeface="Proxima Nova"/>
                <a:ea typeface="Gill Sans Light"/>
                <a:cs typeface="Proxima Nova"/>
                <a:sym typeface="Gill Sans Light"/>
              </a:rPr>
              <a:t>average order quantity</a:t>
            </a:r>
            <a:r>
              <a:rPr lang="en-US" sz="2800" kern="0" dirty="0" smtClean="0">
                <a:solidFill>
                  <a:schemeClr val="tx1">
                    <a:lumMod val="90000"/>
                    <a:lumOff val="10000"/>
                  </a:schemeClr>
                </a:solidFill>
                <a:effectLst>
                  <a:glow rad="152400">
                    <a:schemeClr val="bg1">
                      <a:alpha val="75000"/>
                    </a:schemeClr>
                  </a:glow>
                </a:effectLst>
                <a:latin typeface="Proxima Nova"/>
                <a:ea typeface="Gill Sans Light"/>
                <a:cs typeface="Proxima Nova"/>
                <a:sym typeface="Gill Sans Light"/>
              </a:rPr>
              <a:t>, for example.</a:t>
            </a:r>
            <a:endParaRPr lang="en-US" sz="2800" b="1" kern="0" dirty="0" smtClean="0">
              <a:solidFill>
                <a:schemeClr val="tx1">
                  <a:lumMod val="90000"/>
                  <a:lumOff val="10000"/>
                </a:schemeClr>
              </a:solidFill>
              <a:effectLst>
                <a:glow rad="152400">
                  <a:schemeClr val="bg1">
                    <a:alpha val="75000"/>
                  </a:schemeClr>
                </a:glow>
              </a:effectLst>
              <a:latin typeface="Proxima Nova"/>
              <a:ea typeface="Gill Sans Light"/>
              <a:cs typeface="Proxima Nova"/>
              <a:sym typeface="Gill Sans Light"/>
            </a:endParaRPr>
          </a:p>
        </p:txBody>
      </p:sp>
    </p:spTree>
    <p:extLst>
      <p:ext uri="{BB962C8B-B14F-4D97-AF65-F5344CB8AC3E}">
        <p14:creationId xmlns:p14="http://schemas.microsoft.com/office/powerpoint/2010/main" val="1087680548"/>
      </p:ext>
    </p:extLst>
  </p:cSld>
  <p:clrMapOvr>
    <a:masterClrMapping/>
  </p:clrMapOvr>
  <p:transition xmlns:p14="http://schemas.microsoft.com/office/powerpoint/2010/main" spd="med"/>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1764"/>
            <a:ext cx="24384000" cy="13716000"/>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101615" tIns="101615" rIns="101615" bIns="101615" numCol="1" spcCol="76211" rtlCol="0" anchor="ctr">
            <a:noAutofit/>
          </a:bodyPr>
          <a:lstStyle/>
          <a:p>
            <a:pPr defTabSz="1168575" fontAlgn="auto" latinLnBrk="1">
              <a:lnSpc>
                <a:spcPct val="100000"/>
              </a:lnSpc>
              <a:spcBef>
                <a:spcPts val="0"/>
              </a:spcBef>
              <a:spcAft>
                <a:spcPts val="0"/>
              </a:spcAft>
            </a:pPr>
            <a:endParaRPr lang="en-US" sz="8000">
              <a:solidFill>
                <a:srgbClr val="FFFFFF"/>
              </a:solidFill>
              <a:effectLst>
                <a:outerShdw blurRad="38100" dist="12700" dir="5400000" rotWithShape="0">
                  <a:srgbClr val="000000">
                    <a:alpha val="50000"/>
                  </a:srgbClr>
                </a:outerShdw>
              </a:effectLst>
              <a:latin typeface="+mn-lt"/>
              <a:ea typeface="+mn-ea"/>
              <a:cs typeface="+mn-cs"/>
              <a:sym typeface="Gill Sans"/>
            </a:endParaRPr>
          </a:p>
        </p:txBody>
      </p:sp>
      <p:graphicFrame>
        <p:nvGraphicFramePr>
          <p:cNvPr id="5" name="Diagram 4"/>
          <p:cNvGraphicFramePr/>
          <p:nvPr>
            <p:extLst>
              <p:ext uri="{D42A27DB-BD31-4B8C-83A1-F6EECF244321}">
                <p14:modId xmlns:p14="http://schemas.microsoft.com/office/powerpoint/2010/main" val="2487930417"/>
              </p:ext>
            </p:extLst>
          </p:nvPr>
        </p:nvGraphicFramePr>
        <p:xfrm>
          <a:off x="3352800" y="1828800"/>
          <a:ext cx="19735799" cy="11506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itle 1"/>
          <p:cNvSpPr>
            <a:spLocks noGrp="1"/>
          </p:cNvSpPr>
          <p:nvPr>
            <p:ph type="title"/>
          </p:nvPr>
        </p:nvSpPr>
        <p:spPr>
          <a:xfrm>
            <a:off x="381000" y="228600"/>
            <a:ext cx="22313900" cy="1676400"/>
          </a:xfrm>
        </p:spPr>
        <p:txBody>
          <a:bodyPr/>
          <a:lstStyle/>
          <a:p>
            <a:pPr algn="l"/>
            <a:r>
              <a:rPr lang="en-US" sz="4000" b="1" dirty="0" smtClean="0">
                <a:latin typeface="Proxima Nova"/>
                <a:cs typeface="Proxima Nova"/>
              </a:rPr>
              <a:t>EXAMPLE</a:t>
            </a:r>
            <a:endParaRPr lang="en-US" sz="4000" b="1" dirty="0">
              <a:latin typeface="Proxima Nova"/>
              <a:cs typeface="Proxima Nova"/>
            </a:endParaRPr>
          </a:p>
        </p:txBody>
      </p:sp>
      <p:sp>
        <p:nvSpPr>
          <p:cNvPr id="6" name="Shape 36"/>
          <p:cNvSpPr/>
          <p:nvPr/>
        </p:nvSpPr>
        <p:spPr>
          <a:xfrm>
            <a:off x="457200" y="957359"/>
            <a:ext cx="6629400" cy="6707478"/>
          </a:xfrm>
          <a:prstGeom prst="rect">
            <a:avLst/>
          </a:prstGeom>
          <a:ln w="12700">
            <a:miter lim="400000"/>
          </a:ln>
          <a:extLst>
            <a:ext uri="{C572A759-6A51-4108-AA02-DFA0A04FC94B}">
              <ma14:wrappingTextBoxFlag xmlns:ma14="http://schemas.microsoft.com/office/mac/drawingml/2011/main" val="1"/>
            </a:ext>
          </a:extLst>
        </p:spPr>
        <p:txBody>
          <a:bodyPr wrap="square" lIns="0" tIns="0" rIns="0" bIns="0">
            <a:spAutoFit/>
          </a:bodyPr>
          <a:lstStyle/>
          <a:p>
            <a:pPr lvl="0" algn="l">
              <a:defRPr sz="1800"/>
            </a:pPr>
            <a:r>
              <a:rPr lang="en-US" sz="2800" kern="0" dirty="0" smtClean="0">
                <a:solidFill>
                  <a:schemeClr val="tx2">
                    <a:lumMod val="50000"/>
                  </a:schemeClr>
                </a:solidFill>
                <a:effectLst>
                  <a:glow rad="152400">
                    <a:schemeClr val="bg1">
                      <a:alpha val="75000"/>
                    </a:schemeClr>
                  </a:glow>
                </a:effectLst>
                <a:latin typeface="Proxima Nova"/>
                <a:ea typeface="Gill Sans Light"/>
                <a:cs typeface="Proxima Nova"/>
                <a:sym typeface="Gill Sans Light"/>
              </a:rPr>
              <a:t>Goal trees break metrics down mathematically. </a:t>
            </a:r>
          </a:p>
          <a:p>
            <a:pPr lvl="0" algn="l">
              <a:defRPr sz="1800"/>
            </a:pPr>
            <a:endParaRPr lang="en-US" sz="2800" kern="0" dirty="0">
              <a:solidFill>
                <a:schemeClr val="tx2">
                  <a:lumMod val="50000"/>
                </a:schemeClr>
              </a:solidFill>
              <a:effectLst>
                <a:glow rad="152400">
                  <a:schemeClr val="bg1">
                    <a:alpha val="75000"/>
                  </a:schemeClr>
                </a:glow>
              </a:effectLst>
              <a:latin typeface="Proxima Nova"/>
              <a:ea typeface="Gill Sans Light"/>
              <a:cs typeface="Proxima Nova"/>
              <a:sym typeface="Gill Sans Light"/>
            </a:endParaRPr>
          </a:p>
          <a:p>
            <a:pPr lvl="0" algn="l">
              <a:defRPr sz="1800"/>
            </a:pPr>
            <a:r>
              <a:rPr lang="en-US" sz="2800" kern="0" dirty="0" smtClean="0">
                <a:solidFill>
                  <a:schemeClr val="tx2">
                    <a:lumMod val="50000"/>
                  </a:schemeClr>
                </a:solidFill>
                <a:effectLst>
                  <a:glow rad="152400">
                    <a:schemeClr val="bg1">
                      <a:alpha val="75000"/>
                    </a:schemeClr>
                  </a:glow>
                </a:effectLst>
                <a:latin typeface="Proxima Nova"/>
                <a:ea typeface="Gill Sans Light"/>
                <a:cs typeface="Proxima Nova"/>
                <a:sym typeface="Gill Sans Light"/>
              </a:rPr>
              <a:t>Take a look at a category: Revenue per Visitor, for example. This is the root for two branches: Average Order Value and Conversion Rate. Notice how the branches multiply to equal the root. </a:t>
            </a:r>
            <a:r>
              <a:rPr lang="en-US" sz="2800" b="1" kern="0" dirty="0" smtClean="0">
                <a:solidFill>
                  <a:schemeClr val="tx2">
                    <a:lumMod val="50000"/>
                  </a:schemeClr>
                </a:solidFill>
                <a:effectLst>
                  <a:glow rad="152400">
                    <a:schemeClr val="bg1">
                      <a:alpha val="75000"/>
                    </a:schemeClr>
                  </a:glow>
                </a:effectLst>
                <a:latin typeface="Proxima Nova"/>
                <a:ea typeface="Gill Sans Light"/>
                <a:cs typeface="Proxima Nova"/>
                <a:sym typeface="Gill Sans Light"/>
              </a:rPr>
              <a:t>Average order Value </a:t>
            </a:r>
            <a:r>
              <a:rPr lang="en-US" sz="2800" kern="0" dirty="0" smtClean="0">
                <a:solidFill>
                  <a:schemeClr val="tx2">
                    <a:lumMod val="50000"/>
                  </a:schemeClr>
                </a:solidFill>
                <a:effectLst>
                  <a:glow rad="152400">
                    <a:schemeClr val="bg1">
                      <a:alpha val="75000"/>
                    </a:schemeClr>
                  </a:glow>
                </a:effectLst>
                <a:latin typeface="Proxima Nova"/>
                <a:ea typeface="Gill Sans Light"/>
                <a:cs typeface="Proxima Nova"/>
                <a:sym typeface="Gill Sans Light"/>
              </a:rPr>
              <a:t>x </a:t>
            </a:r>
            <a:r>
              <a:rPr lang="en-US" sz="2800" b="1" kern="0" dirty="0" smtClean="0">
                <a:solidFill>
                  <a:schemeClr val="tx2">
                    <a:lumMod val="50000"/>
                  </a:schemeClr>
                </a:solidFill>
                <a:effectLst>
                  <a:glow rad="152400">
                    <a:schemeClr val="bg1">
                      <a:alpha val="75000"/>
                    </a:schemeClr>
                  </a:glow>
                </a:effectLst>
                <a:latin typeface="Proxima Nova"/>
                <a:ea typeface="Gill Sans Light"/>
                <a:cs typeface="Proxima Nova"/>
                <a:sym typeface="Gill Sans Light"/>
              </a:rPr>
              <a:t>Conversion Rate </a:t>
            </a:r>
            <a:r>
              <a:rPr lang="en-US" sz="2800" kern="0" dirty="0" smtClean="0">
                <a:solidFill>
                  <a:schemeClr val="tx2">
                    <a:lumMod val="50000"/>
                  </a:schemeClr>
                </a:solidFill>
                <a:effectLst>
                  <a:glow rad="152400">
                    <a:schemeClr val="bg1">
                      <a:alpha val="75000"/>
                    </a:schemeClr>
                  </a:glow>
                </a:effectLst>
                <a:latin typeface="Proxima Nova"/>
                <a:ea typeface="Gill Sans Light"/>
                <a:cs typeface="Proxima Nova"/>
                <a:sym typeface="Gill Sans Light"/>
              </a:rPr>
              <a:t>= </a:t>
            </a:r>
            <a:r>
              <a:rPr lang="en-US" sz="2800" b="1" kern="0" dirty="0" smtClean="0">
                <a:solidFill>
                  <a:schemeClr val="tx2">
                    <a:lumMod val="50000"/>
                  </a:schemeClr>
                </a:solidFill>
                <a:effectLst>
                  <a:glow rad="152400">
                    <a:schemeClr val="bg1">
                      <a:alpha val="75000"/>
                    </a:schemeClr>
                  </a:glow>
                </a:effectLst>
                <a:latin typeface="Proxima Nova"/>
                <a:ea typeface="Gill Sans Light"/>
                <a:cs typeface="Proxima Nova"/>
                <a:sym typeface="Gill Sans Light"/>
              </a:rPr>
              <a:t>Revenue per Visitor</a:t>
            </a:r>
            <a:r>
              <a:rPr lang="en-US" sz="2800" kern="0" dirty="0" smtClean="0">
                <a:solidFill>
                  <a:schemeClr val="tx2">
                    <a:lumMod val="50000"/>
                  </a:schemeClr>
                </a:solidFill>
                <a:effectLst>
                  <a:glow rad="152400">
                    <a:schemeClr val="bg1">
                      <a:alpha val="75000"/>
                    </a:schemeClr>
                  </a:glow>
                </a:effectLst>
                <a:latin typeface="Proxima Nova"/>
                <a:ea typeface="Gill Sans Light"/>
                <a:cs typeface="Proxima Nova"/>
                <a:sym typeface="Gill Sans Light"/>
              </a:rPr>
              <a:t>.</a:t>
            </a:r>
          </a:p>
          <a:p>
            <a:pPr lvl="0" algn="l">
              <a:defRPr sz="1800"/>
            </a:pPr>
            <a:endParaRPr lang="en-US" sz="2800" kern="0" dirty="0">
              <a:solidFill>
                <a:schemeClr val="tx2">
                  <a:lumMod val="50000"/>
                </a:schemeClr>
              </a:solidFill>
              <a:effectLst>
                <a:glow rad="152400">
                  <a:schemeClr val="bg1">
                    <a:alpha val="75000"/>
                  </a:schemeClr>
                </a:glow>
              </a:effectLst>
              <a:latin typeface="Proxima Nova"/>
              <a:ea typeface="Gill Sans Light"/>
              <a:cs typeface="Proxima Nova"/>
              <a:sym typeface="Gill Sans Light"/>
            </a:endParaRPr>
          </a:p>
          <a:p>
            <a:pPr lvl="0" algn="l">
              <a:defRPr sz="1800"/>
            </a:pPr>
            <a:r>
              <a:rPr lang="en-US" sz="2800" kern="0" dirty="0" smtClean="0">
                <a:solidFill>
                  <a:schemeClr val="tx2">
                    <a:lumMod val="50000"/>
                  </a:schemeClr>
                </a:solidFill>
                <a:effectLst>
                  <a:glow rad="152400">
                    <a:schemeClr val="bg1">
                      <a:alpha val="75000"/>
                    </a:schemeClr>
                  </a:glow>
                </a:effectLst>
                <a:latin typeface="Proxima Nova"/>
                <a:ea typeface="Gill Sans Light"/>
                <a:cs typeface="Proxima Nova"/>
                <a:sym typeface="Gill Sans Light"/>
              </a:rPr>
              <a:t>Use this method to create your own goal tree. </a:t>
            </a:r>
          </a:p>
        </p:txBody>
      </p:sp>
    </p:spTree>
    <p:extLst>
      <p:ext uri="{BB962C8B-B14F-4D97-AF65-F5344CB8AC3E}">
        <p14:creationId xmlns:p14="http://schemas.microsoft.com/office/powerpoint/2010/main" val="25249163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Shape 63"/>
          <p:cNvSpPr/>
          <p:nvPr/>
        </p:nvSpPr>
        <p:spPr>
          <a:xfrm>
            <a:off x="1059378" y="6020662"/>
            <a:ext cx="22265246" cy="1210588"/>
          </a:xfrm>
          <a:prstGeom prst="rect">
            <a:avLst/>
          </a:prstGeom>
          <a:ln w="12700">
            <a:miter lim="400000"/>
          </a:ln>
          <a:extLst>
            <a:ext uri="{C572A759-6A51-4108-AA02-DFA0A04FC94B}">
              <ma14:wrappingTextBoxFlag xmlns:ma14="http://schemas.microsoft.com/office/mac/drawingml/2011/main" val="1"/>
            </a:ext>
          </a:extLst>
        </p:spPr>
        <p:txBody>
          <a:bodyPr wrap="square" lIns="50800" tIns="50800" rIns="50800" bIns="50800" anchor="ctr">
            <a:spAutoFit/>
          </a:bodyPr>
          <a:lstStyle>
            <a:lvl1pPr>
              <a:lnSpc>
                <a:spcPct val="100000"/>
              </a:lnSpc>
              <a:defRPr sz="12000" spc="-239">
                <a:solidFill>
                  <a:srgbClr val="FFFFFF"/>
                </a:solidFill>
                <a:latin typeface="+mj-lt"/>
                <a:ea typeface="+mj-ea"/>
                <a:cs typeface="+mj-cs"/>
                <a:sym typeface="Verdana Bold"/>
              </a:defRPr>
            </a:lvl1pPr>
          </a:lstStyle>
          <a:p>
            <a:pPr lvl="0" algn="l">
              <a:defRPr sz="1800" spc="0">
                <a:solidFill>
                  <a:srgbClr val="000000"/>
                </a:solidFill>
              </a:defRPr>
            </a:pPr>
            <a:r>
              <a:rPr lang="en-US" sz="7200" b="1" spc="-239" dirty="0" smtClean="0">
                <a:solidFill>
                  <a:srgbClr val="FFFFFF"/>
                </a:solidFill>
                <a:effectLst/>
                <a:latin typeface="Proxima Nova"/>
                <a:cs typeface="Proxima Nova"/>
              </a:rPr>
              <a:t>Build your own tree</a:t>
            </a:r>
            <a:endParaRPr sz="7200" b="1" spc="-239" dirty="0">
              <a:solidFill>
                <a:srgbClr val="FFFFFF"/>
              </a:solidFill>
              <a:effectLst/>
              <a:latin typeface="Proxima Nova"/>
              <a:cs typeface="Proxima Nova"/>
            </a:endParaRPr>
          </a:p>
        </p:txBody>
      </p:sp>
      <p:sp>
        <p:nvSpPr>
          <p:cNvPr id="2" name="Rectangle 1"/>
          <p:cNvSpPr/>
          <p:nvPr/>
        </p:nvSpPr>
        <p:spPr>
          <a:xfrm>
            <a:off x="12099667" y="6632297"/>
            <a:ext cx="184666" cy="451406"/>
          </a:xfrm>
          <a:prstGeom prst="rect">
            <a:avLst/>
          </a:prstGeom>
        </p:spPr>
        <p:txBody>
          <a:bodyPr wrap="none">
            <a:spAutoFit/>
          </a:bodyPr>
          <a:lstStyle/>
          <a:p>
            <a:r>
              <a:rPr lang="en-US" dirty="0"/>
              <a:t> </a:t>
            </a:r>
          </a:p>
        </p:txBody>
      </p:sp>
      <p:sp>
        <p:nvSpPr>
          <p:cNvPr id="3" name="Rectangle 2"/>
          <p:cNvSpPr/>
          <p:nvPr/>
        </p:nvSpPr>
        <p:spPr>
          <a:xfrm>
            <a:off x="12099667" y="6632297"/>
            <a:ext cx="184666" cy="451406"/>
          </a:xfrm>
          <a:prstGeom prst="rect">
            <a:avLst/>
          </a:prstGeom>
        </p:spPr>
        <p:txBody>
          <a:bodyPr wrap="none">
            <a:spAutoFit/>
          </a:bodyPr>
          <a:lstStyle/>
          <a:p>
            <a:r>
              <a:rPr lang="en-US" dirty="0"/>
              <a:t> </a:t>
            </a:r>
          </a:p>
        </p:txBody>
      </p:sp>
      <p:sp>
        <p:nvSpPr>
          <p:cNvPr id="4" name="Rectangle 3"/>
          <p:cNvSpPr/>
          <p:nvPr/>
        </p:nvSpPr>
        <p:spPr>
          <a:xfrm>
            <a:off x="990600" y="7162800"/>
            <a:ext cx="12573000" cy="5394297"/>
          </a:xfrm>
          <a:prstGeom prst="rect">
            <a:avLst/>
          </a:prstGeom>
        </p:spPr>
        <p:txBody>
          <a:bodyPr wrap="square">
            <a:spAutoFit/>
          </a:bodyPr>
          <a:lstStyle/>
          <a:p>
            <a:pPr algn="l">
              <a:spcBef>
                <a:spcPts val="0"/>
              </a:spcBef>
            </a:pPr>
            <a:r>
              <a:rPr lang="en-US" sz="3200" dirty="0">
                <a:solidFill>
                  <a:srgbClr val="E8E8E8"/>
                </a:solidFill>
                <a:latin typeface="Proxima Nova"/>
                <a:cs typeface="Proxima Nova"/>
              </a:rPr>
              <a:t>Identify the goal tree that aligns best with your own. Modify it to align it to your own company and program goals.</a:t>
            </a:r>
          </a:p>
          <a:p>
            <a:pPr algn="l">
              <a:spcBef>
                <a:spcPts val="0"/>
              </a:spcBef>
            </a:pPr>
            <a:endParaRPr lang="en-US" sz="3200" dirty="0">
              <a:solidFill>
                <a:srgbClr val="E8E8E8"/>
              </a:solidFill>
              <a:latin typeface="Proxima Nova"/>
              <a:cs typeface="Proxima Nova"/>
            </a:endParaRPr>
          </a:p>
          <a:p>
            <a:pPr marL="457200" indent="-457200" algn="l">
              <a:spcBef>
                <a:spcPts val="0"/>
              </a:spcBef>
              <a:buFont typeface="Arial"/>
              <a:buChar char="•"/>
            </a:pPr>
            <a:r>
              <a:rPr lang="en-US" sz="3200" dirty="0">
                <a:solidFill>
                  <a:srgbClr val="E8E8E8"/>
                </a:solidFill>
                <a:latin typeface="Proxima Nova"/>
                <a:cs typeface="Proxima Nova"/>
              </a:rPr>
              <a:t>Begin at the top of the </a:t>
            </a:r>
            <a:r>
              <a:rPr lang="en-US" sz="3200" dirty="0" smtClean="0">
                <a:solidFill>
                  <a:srgbClr val="E8E8E8"/>
                </a:solidFill>
                <a:latin typeface="Proxima Nova"/>
                <a:cs typeface="Proxima Nova"/>
              </a:rPr>
              <a:t>tree</a:t>
            </a:r>
            <a:endParaRPr lang="en-US" sz="3200" dirty="0">
              <a:solidFill>
                <a:srgbClr val="E8E8E8"/>
              </a:solidFill>
              <a:latin typeface="Proxima Nova"/>
              <a:cs typeface="Proxima Nova"/>
            </a:endParaRPr>
          </a:p>
          <a:p>
            <a:pPr marL="457200" indent="-457200" algn="l">
              <a:spcBef>
                <a:spcPts val="0"/>
              </a:spcBef>
              <a:buFont typeface="Arial"/>
              <a:buChar char="•"/>
            </a:pPr>
            <a:r>
              <a:rPr lang="en-US" sz="3200" dirty="0">
                <a:solidFill>
                  <a:srgbClr val="E8E8E8"/>
                </a:solidFill>
                <a:latin typeface="Proxima Nova"/>
                <a:cs typeface="Proxima Nova"/>
              </a:rPr>
              <a:t>What does </a:t>
            </a:r>
            <a:r>
              <a:rPr lang="en-US" sz="3200" dirty="0" smtClean="0">
                <a:solidFill>
                  <a:srgbClr val="E8E8E8"/>
                </a:solidFill>
                <a:latin typeface="Proxima Nova"/>
                <a:cs typeface="Proxima Nova"/>
              </a:rPr>
              <a:t>your company </a:t>
            </a:r>
            <a:r>
              <a:rPr lang="en-US" sz="3200" dirty="0">
                <a:solidFill>
                  <a:srgbClr val="E8E8E8"/>
                </a:solidFill>
                <a:latin typeface="Proxima Nova"/>
                <a:cs typeface="Proxima Nova"/>
              </a:rPr>
              <a:t>do to generate revenue?</a:t>
            </a:r>
          </a:p>
          <a:p>
            <a:pPr marL="457200" indent="-457200" algn="l">
              <a:spcBef>
                <a:spcPts val="0"/>
              </a:spcBef>
              <a:buFont typeface="Arial"/>
              <a:buChar char="•"/>
            </a:pPr>
            <a:r>
              <a:rPr lang="en-US" sz="3200" dirty="0" smtClean="0">
                <a:solidFill>
                  <a:srgbClr val="E8E8E8"/>
                </a:solidFill>
                <a:latin typeface="Proxima Nova"/>
                <a:cs typeface="Proxima Nova"/>
              </a:rPr>
              <a:t>How </a:t>
            </a:r>
            <a:r>
              <a:rPr lang="en-US" sz="3200" dirty="0">
                <a:solidFill>
                  <a:srgbClr val="E8E8E8"/>
                </a:solidFill>
                <a:latin typeface="Proxima Nova"/>
                <a:cs typeface="Proxima Nova"/>
              </a:rPr>
              <a:t>does each metric break down into a smaller set of metrics? </a:t>
            </a:r>
          </a:p>
          <a:p>
            <a:pPr algn="l">
              <a:spcBef>
                <a:spcPts val="0"/>
              </a:spcBef>
            </a:pPr>
            <a:endParaRPr lang="en-US" sz="3200" dirty="0">
              <a:solidFill>
                <a:srgbClr val="E8E8E8"/>
              </a:solidFill>
              <a:latin typeface="Proxima Nova"/>
              <a:cs typeface="Proxima Nova"/>
            </a:endParaRPr>
          </a:p>
          <a:p>
            <a:pPr algn="l">
              <a:spcBef>
                <a:spcPts val="0"/>
              </a:spcBef>
            </a:pPr>
            <a:r>
              <a:rPr lang="en-US" sz="3200" dirty="0" smtClean="0">
                <a:solidFill>
                  <a:srgbClr val="E8E8E8"/>
                </a:solidFill>
                <a:latin typeface="Proxima Nova"/>
                <a:cs typeface="Proxima Nova"/>
              </a:rPr>
              <a:t>Remember! </a:t>
            </a:r>
            <a:r>
              <a:rPr lang="en-US" sz="3200" dirty="0">
                <a:solidFill>
                  <a:srgbClr val="E8E8E8"/>
                </a:solidFill>
                <a:latin typeface="Proxima Nova"/>
                <a:cs typeface="Proxima Nova"/>
              </a:rPr>
              <a:t>E</a:t>
            </a:r>
            <a:r>
              <a:rPr lang="en-US" sz="3200" dirty="0" smtClean="0">
                <a:solidFill>
                  <a:srgbClr val="E8E8E8"/>
                </a:solidFill>
                <a:latin typeface="Proxima Nova"/>
                <a:cs typeface="Proxima Nova"/>
              </a:rPr>
              <a:t>ach </a:t>
            </a:r>
            <a:r>
              <a:rPr lang="en-US" sz="3200" dirty="0">
                <a:solidFill>
                  <a:srgbClr val="E8E8E8"/>
                </a:solidFill>
                <a:latin typeface="Proxima Nova"/>
                <a:cs typeface="Proxima Nova"/>
              </a:rPr>
              <a:t>set of branches should equal the value of the root it springs from. </a:t>
            </a:r>
          </a:p>
        </p:txBody>
      </p:sp>
    </p:spTree>
    <p:extLst>
      <p:ext uri="{BB962C8B-B14F-4D97-AF65-F5344CB8AC3E}">
        <p14:creationId xmlns:p14="http://schemas.microsoft.com/office/powerpoint/2010/main" val="2252139357"/>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5118" y="0"/>
            <a:ext cx="24384000" cy="13716000"/>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101615" tIns="101615" rIns="101615" bIns="101615" numCol="1" spcCol="76211" rtlCol="0" anchor="ctr">
            <a:noAutofit/>
          </a:bodyPr>
          <a:lstStyle/>
          <a:p>
            <a:pPr defTabSz="1168575" fontAlgn="auto" latinLnBrk="1">
              <a:lnSpc>
                <a:spcPct val="100000"/>
              </a:lnSpc>
              <a:spcBef>
                <a:spcPts val="0"/>
              </a:spcBef>
              <a:spcAft>
                <a:spcPts val="0"/>
              </a:spcAft>
            </a:pPr>
            <a:endParaRPr lang="en-US" sz="8000">
              <a:solidFill>
                <a:srgbClr val="FFFFFF"/>
              </a:solidFill>
              <a:effectLst>
                <a:outerShdw blurRad="38100" dist="12700" dir="5400000" rotWithShape="0">
                  <a:srgbClr val="000000">
                    <a:alpha val="50000"/>
                  </a:srgbClr>
                </a:outerShdw>
              </a:effectLst>
              <a:latin typeface="+mn-lt"/>
              <a:ea typeface="+mn-ea"/>
              <a:cs typeface="+mn-cs"/>
              <a:sym typeface="Gill Sans"/>
            </a:endParaRPr>
          </a:p>
        </p:txBody>
      </p:sp>
      <p:graphicFrame>
        <p:nvGraphicFramePr>
          <p:cNvPr id="5" name="Diagram 4"/>
          <p:cNvGraphicFramePr/>
          <p:nvPr>
            <p:extLst>
              <p:ext uri="{D42A27DB-BD31-4B8C-83A1-F6EECF244321}">
                <p14:modId xmlns:p14="http://schemas.microsoft.com/office/powerpoint/2010/main" val="3531167394"/>
              </p:ext>
            </p:extLst>
          </p:nvPr>
        </p:nvGraphicFramePr>
        <p:xfrm>
          <a:off x="152400" y="0"/>
          <a:ext cx="24040007" cy="13411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1"/>
          <p:cNvSpPr>
            <a:spLocks noGrp="1"/>
          </p:cNvSpPr>
          <p:nvPr>
            <p:ph type="title"/>
          </p:nvPr>
        </p:nvSpPr>
        <p:spPr>
          <a:xfrm>
            <a:off x="1689100" y="762000"/>
            <a:ext cx="21005800" cy="1524000"/>
          </a:xfrm>
        </p:spPr>
        <p:txBody>
          <a:bodyPr/>
          <a:lstStyle/>
          <a:p>
            <a:r>
              <a:rPr lang="en-US" b="1" dirty="0" smtClean="0">
                <a:latin typeface="Proxima Nova"/>
                <a:cs typeface="Proxima Nova"/>
              </a:rPr>
              <a:t>Digital Commerce + Physical Retail</a:t>
            </a:r>
            <a:endParaRPr lang="en-US" b="1" dirty="0">
              <a:solidFill>
                <a:schemeClr val="accent5"/>
              </a:solidFill>
              <a:latin typeface="Proxima Nova"/>
              <a:cs typeface="Proxima Nova"/>
            </a:endParaRPr>
          </a:p>
        </p:txBody>
      </p:sp>
    </p:spTree>
    <p:extLst>
      <p:ext uri="{BB962C8B-B14F-4D97-AF65-F5344CB8AC3E}">
        <p14:creationId xmlns:p14="http://schemas.microsoft.com/office/powerpoint/2010/main" val="16369874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5118" y="0"/>
            <a:ext cx="24384000" cy="13716000"/>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101615" tIns="101615" rIns="101615" bIns="101615" numCol="1" spcCol="76211" rtlCol="0" anchor="ctr">
            <a:noAutofit/>
          </a:bodyPr>
          <a:lstStyle/>
          <a:p>
            <a:pPr defTabSz="1168575" fontAlgn="auto" latinLnBrk="1">
              <a:lnSpc>
                <a:spcPct val="100000"/>
              </a:lnSpc>
              <a:spcBef>
                <a:spcPts val="0"/>
              </a:spcBef>
              <a:spcAft>
                <a:spcPts val="0"/>
              </a:spcAft>
            </a:pPr>
            <a:endParaRPr lang="en-US" sz="8000">
              <a:solidFill>
                <a:srgbClr val="FFFFFF"/>
              </a:solidFill>
              <a:effectLst>
                <a:outerShdw blurRad="38100" dist="12700" dir="5400000" rotWithShape="0">
                  <a:srgbClr val="000000">
                    <a:alpha val="50000"/>
                  </a:srgbClr>
                </a:outerShdw>
              </a:effectLst>
              <a:latin typeface="+mn-lt"/>
              <a:ea typeface="+mn-ea"/>
              <a:cs typeface="+mn-cs"/>
              <a:sym typeface="Gill Sans"/>
            </a:endParaRPr>
          </a:p>
        </p:txBody>
      </p:sp>
      <p:graphicFrame>
        <p:nvGraphicFramePr>
          <p:cNvPr id="5" name="Diagram 4"/>
          <p:cNvGraphicFramePr/>
          <p:nvPr>
            <p:extLst>
              <p:ext uri="{D42A27DB-BD31-4B8C-83A1-F6EECF244321}">
                <p14:modId xmlns:p14="http://schemas.microsoft.com/office/powerpoint/2010/main" val="3950628531"/>
              </p:ext>
            </p:extLst>
          </p:nvPr>
        </p:nvGraphicFramePr>
        <p:xfrm>
          <a:off x="152400" y="152400"/>
          <a:ext cx="24040007" cy="13411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1"/>
          <p:cNvSpPr>
            <a:spLocks noGrp="1"/>
          </p:cNvSpPr>
          <p:nvPr>
            <p:ph type="title"/>
          </p:nvPr>
        </p:nvSpPr>
        <p:spPr>
          <a:xfrm>
            <a:off x="1689100" y="685800"/>
            <a:ext cx="21005800" cy="1600200"/>
          </a:xfrm>
        </p:spPr>
        <p:txBody>
          <a:bodyPr/>
          <a:lstStyle/>
          <a:p>
            <a:pPr algn="l"/>
            <a:r>
              <a:rPr lang="en-US" b="1" dirty="0" smtClean="0">
                <a:latin typeface="Proxima Nova"/>
                <a:cs typeface="Proxima Nova"/>
              </a:rPr>
              <a:t>Internet &amp; Telecom</a:t>
            </a:r>
            <a:endParaRPr lang="en-US" b="1" dirty="0">
              <a:solidFill>
                <a:schemeClr val="accent5"/>
              </a:solidFill>
              <a:latin typeface="Proxima Nova"/>
              <a:cs typeface="Proxima Nova"/>
            </a:endParaRPr>
          </a:p>
        </p:txBody>
      </p:sp>
    </p:spTree>
    <p:extLst>
      <p:ext uri="{BB962C8B-B14F-4D97-AF65-F5344CB8AC3E}">
        <p14:creationId xmlns:p14="http://schemas.microsoft.com/office/powerpoint/2010/main" val="11266050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5118" y="0"/>
            <a:ext cx="24384000" cy="13716000"/>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101615" tIns="101615" rIns="101615" bIns="101615" numCol="1" spcCol="76211" rtlCol="0" anchor="ctr">
            <a:noAutofit/>
          </a:bodyPr>
          <a:lstStyle/>
          <a:p>
            <a:pPr defTabSz="1168575" fontAlgn="auto" latinLnBrk="1">
              <a:lnSpc>
                <a:spcPct val="100000"/>
              </a:lnSpc>
              <a:spcBef>
                <a:spcPts val="0"/>
              </a:spcBef>
              <a:spcAft>
                <a:spcPts val="0"/>
              </a:spcAft>
            </a:pPr>
            <a:endParaRPr lang="en-US" sz="8000">
              <a:solidFill>
                <a:srgbClr val="FFFFFF"/>
              </a:solidFill>
              <a:effectLst>
                <a:outerShdw blurRad="38100" dist="12700" dir="5400000" rotWithShape="0">
                  <a:srgbClr val="000000">
                    <a:alpha val="50000"/>
                  </a:srgbClr>
                </a:outerShdw>
              </a:effectLst>
              <a:latin typeface="+mn-lt"/>
              <a:ea typeface="+mn-ea"/>
              <a:cs typeface="+mn-cs"/>
              <a:sym typeface="Gill Sans"/>
            </a:endParaRPr>
          </a:p>
        </p:txBody>
      </p:sp>
      <p:graphicFrame>
        <p:nvGraphicFramePr>
          <p:cNvPr id="5" name="Diagram 4"/>
          <p:cNvGraphicFramePr/>
          <p:nvPr>
            <p:extLst>
              <p:ext uri="{D42A27DB-BD31-4B8C-83A1-F6EECF244321}">
                <p14:modId xmlns:p14="http://schemas.microsoft.com/office/powerpoint/2010/main" val="468214744"/>
              </p:ext>
            </p:extLst>
          </p:nvPr>
        </p:nvGraphicFramePr>
        <p:xfrm>
          <a:off x="152400" y="76200"/>
          <a:ext cx="24040007" cy="13411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1"/>
          <p:cNvSpPr>
            <a:spLocks noGrp="1"/>
          </p:cNvSpPr>
          <p:nvPr>
            <p:ph type="title"/>
          </p:nvPr>
        </p:nvSpPr>
        <p:spPr>
          <a:xfrm>
            <a:off x="1689100" y="228600"/>
            <a:ext cx="21005800" cy="2057400"/>
          </a:xfrm>
        </p:spPr>
        <p:txBody>
          <a:bodyPr/>
          <a:lstStyle/>
          <a:p>
            <a:pPr algn="l"/>
            <a:r>
              <a:rPr lang="en-US" b="1" dirty="0" smtClean="0">
                <a:latin typeface="Proxima Nova"/>
                <a:cs typeface="Proxima Nova"/>
              </a:rPr>
              <a:t>Travel &amp; Hospitality</a:t>
            </a:r>
            <a:endParaRPr lang="en-US" b="1" dirty="0">
              <a:solidFill>
                <a:schemeClr val="accent5"/>
              </a:solidFill>
              <a:latin typeface="Proxima Nova"/>
              <a:cs typeface="Proxima Nova"/>
            </a:endParaRPr>
          </a:p>
        </p:txBody>
      </p:sp>
    </p:spTree>
    <p:extLst>
      <p:ext uri="{BB962C8B-B14F-4D97-AF65-F5344CB8AC3E}">
        <p14:creationId xmlns:p14="http://schemas.microsoft.com/office/powerpoint/2010/main" val="19532557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 y="6256600"/>
            <a:ext cx="24383998" cy="1202801"/>
          </a:xfrm>
          <a:prstGeom prst="rect">
            <a:avLst/>
          </a:prstGeom>
          <a:solidFill>
            <a:schemeClr val="bg1"/>
          </a:solidFill>
          <a:ln w="12700" cap="flat">
            <a:noFill/>
            <a:miter lim="400000"/>
          </a:ln>
          <a:effectLst>
            <a:outerShdw blurRad="38100" dist="25400" dir="5400000" rotWithShape="0">
              <a:srgbClr val="000000">
                <a:alpha val="50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85044" tIns="85044" rIns="85044" bIns="85044" numCol="1" spcCol="63783" rtlCol="0" anchor="ctr">
            <a:spAutoFit/>
          </a:bodyPr>
          <a:lstStyle/>
          <a:p>
            <a:pPr defTabSz="978009" fontAlgn="auto" latinLnBrk="1">
              <a:lnSpc>
                <a:spcPct val="100000"/>
              </a:lnSpc>
              <a:spcBef>
                <a:spcPts val="0"/>
              </a:spcBef>
              <a:spcAft>
                <a:spcPts val="0"/>
              </a:spcAft>
            </a:pPr>
            <a:endParaRPr lang="en-US" sz="6700">
              <a:solidFill>
                <a:srgbClr val="FFFFFF"/>
              </a:solidFill>
              <a:effectLst>
                <a:outerShdw blurRad="38100" dist="12700" dir="5400000" rotWithShape="0">
                  <a:srgbClr val="000000">
                    <a:alpha val="50000"/>
                  </a:srgbClr>
                </a:outerShdw>
              </a:effectLst>
              <a:latin typeface="+mn-lt"/>
              <a:ea typeface="+mn-ea"/>
              <a:cs typeface="+mn-cs"/>
              <a:sym typeface="Gill Sans"/>
            </a:endParaRPr>
          </a:p>
        </p:txBody>
      </p:sp>
      <p:graphicFrame>
        <p:nvGraphicFramePr>
          <p:cNvPr id="2" name="Diagram 1"/>
          <p:cNvGraphicFramePr/>
          <p:nvPr>
            <p:extLst>
              <p:ext uri="{D42A27DB-BD31-4B8C-83A1-F6EECF244321}">
                <p14:modId xmlns:p14="http://schemas.microsoft.com/office/powerpoint/2010/main" val="673109100"/>
              </p:ext>
            </p:extLst>
          </p:nvPr>
        </p:nvGraphicFramePr>
        <p:xfrm>
          <a:off x="1" y="0"/>
          <a:ext cx="24383998" cy="137159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ectangle 5"/>
          <p:cNvSpPr/>
          <p:nvPr/>
        </p:nvSpPr>
        <p:spPr>
          <a:xfrm>
            <a:off x="19646113" y="990600"/>
            <a:ext cx="1024871" cy="633414"/>
          </a:xfrm>
          <a:prstGeom prst="rect">
            <a:avLst/>
          </a:prstGeom>
          <a:solidFill>
            <a:srgbClr val="B4FFCC"/>
          </a:solidFill>
          <a:ln w="12700" cap="flat">
            <a:solidFill>
              <a:schemeClr val="accent1">
                <a:lumMod val="20000"/>
                <a:lumOff val="80000"/>
              </a:schemeClr>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85044" tIns="85044" rIns="85044" bIns="85044" numCol="1" spcCol="63783" rtlCol="0" anchor="ctr">
            <a:spAutoFit/>
          </a:bodyPr>
          <a:lstStyle/>
          <a:p>
            <a:pPr defTabSz="978009" fontAlgn="auto" latinLnBrk="1">
              <a:lnSpc>
                <a:spcPct val="100000"/>
              </a:lnSpc>
              <a:spcBef>
                <a:spcPts val="0"/>
              </a:spcBef>
              <a:spcAft>
                <a:spcPts val="0"/>
              </a:spcAft>
            </a:pPr>
            <a:endParaRPr lang="en-US" sz="3000">
              <a:solidFill>
                <a:srgbClr val="FFFFFF"/>
              </a:solidFill>
              <a:effectLst>
                <a:outerShdw blurRad="38100" dist="12700" dir="5400000" rotWithShape="0">
                  <a:srgbClr val="000000">
                    <a:alpha val="50000"/>
                  </a:srgbClr>
                </a:outerShdw>
              </a:effectLst>
              <a:latin typeface="+mn-lt"/>
              <a:ea typeface="+mn-ea"/>
              <a:cs typeface="+mn-cs"/>
              <a:sym typeface="Gill Sans"/>
            </a:endParaRPr>
          </a:p>
        </p:txBody>
      </p:sp>
      <p:sp>
        <p:nvSpPr>
          <p:cNvPr id="9" name="Rectangle 8"/>
          <p:cNvSpPr/>
          <p:nvPr/>
        </p:nvSpPr>
        <p:spPr>
          <a:xfrm>
            <a:off x="19646113" y="1603226"/>
            <a:ext cx="1024871" cy="633414"/>
          </a:xfrm>
          <a:prstGeom prst="rect">
            <a:avLst/>
          </a:prstGeom>
          <a:solidFill>
            <a:srgbClr val="F1E5A7"/>
          </a:solidFill>
          <a:ln w="12700" cap="flat">
            <a:solidFill>
              <a:schemeClr val="accent1">
                <a:lumMod val="20000"/>
                <a:lumOff val="80000"/>
              </a:schemeClr>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85044" tIns="85044" rIns="85044" bIns="85044" numCol="1" spcCol="63783" rtlCol="0" anchor="ctr">
            <a:spAutoFit/>
          </a:bodyPr>
          <a:lstStyle/>
          <a:p>
            <a:pPr defTabSz="978009" fontAlgn="auto" latinLnBrk="1">
              <a:lnSpc>
                <a:spcPct val="100000"/>
              </a:lnSpc>
              <a:spcBef>
                <a:spcPts val="0"/>
              </a:spcBef>
              <a:spcAft>
                <a:spcPts val="0"/>
              </a:spcAft>
            </a:pPr>
            <a:endParaRPr lang="en-US" sz="3000">
              <a:solidFill>
                <a:srgbClr val="FFFFFF"/>
              </a:solidFill>
              <a:effectLst>
                <a:outerShdw blurRad="38100" dist="12700" dir="5400000" rotWithShape="0">
                  <a:srgbClr val="000000">
                    <a:alpha val="50000"/>
                  </a:srgbClr>
                </a:outerShdw>
              </a:effectLst>
              <a:latin typeface="+mn-lt"/>
              <a:ea typeface="+mn-ea"/>
              <a:cs typeface="+mn-cs"/>
              <a:sym typeface="Gill Sans"/>
            </a:endParaRPr>
          </a:p>
        </p:txBody>
      </p:sp>
      <p:sp>
        <p:nvSpPr>
          <p:cNvPr id="10" name="Rectangle 9"/>
          <p:cNvSpPr/>
          <p:nvPr/>
        </p:nvSpPr>
        <p:spPr>
          <a:xfrm>
            <a:off x="19646113" y="2215852"/>
            <a:ext cx="1024871" cy="633414"/>
          </a:xfrm>
          <a:prstGeom prst="rect">
            <a:avLst/>
          </a:prstGeom>
          <a:solidFill>
            <a:srgbClr val="FB9B89"/>
          </a:solidFill>
          <a:ln w="12700" cap="flat">
            <a:solidFill>
              <a:schemeClr val="accent1">
                <a:lumMod val="20000"/>
                <a:lumOff val="80000"/>
              </a:schemeClr>
            </a:solid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85044" tIns="85044" rIns="85044" bIns="85044" numCol="1" spcCol="63783" rtlCol="0" anchor="ctr">
            <a:spAutoFit/>
          </a:bodyPr>
          <a:lstStyle/>
          <a:p>
            <a:pPr defTabSz="978009" fontAlgn="auto" latinLnBrk="1">
              <a:lnSpc>
                <a:spcPct val="100000"/>
              </a:lnSpc>
              <a:spcBef>
                <a:spcPts val="0"/>
              </a:spcBef>
              <a:spcAft>
                <a:spcPts val="0"/>
              </a:spcAft>
            </a:pPr>
            <a:endParaRPr lang="en-US" sz="3000">
              <a:solidFill>
                <a:srgbClr val="FFFFFF"/>
              </a:solidFill>
              <a:effectLst>
                <a:outerShdw blurRad="38100" dist="12700" dir="5400000" rotWithShape="0">
                  <a:srgbClr val="000000">
                    <a:alpha val="50000"/>
                  </a:srgbClr>
                </a:outerShdw>
              </a:effectLst>
              <a:latin typeface="+mn-lt"/>
              <a:ea typeface="+mn-ea"/>
              <a:cs typeface="+mn-cs"/>
              <a:sym typeface="Gill Sans"/>
            </a:endParaRPr>
          </a:p>
        </p:txBody>
      </p:sp>
      <p:sp>
        <p:nvSpPr>
          <p:cNvPr id="7" name="TextBox 6"/>
          <p:cNvSpPr txBox="1"/>
          <p:nvPr/>
        </p:nvSpPr>
        <p:spPr>
          <a:xfrm>
            <a:off x="20831408" y="990600"/>
            <a:ext cx="2997122" cy="633414"/>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85044" tIns="85044" rIns="85044" bIns="85044" numCol="1" spcCol="63783" rtlCol="0" anchor="ctr">
            <a:spAutoFit/>
          </a:bodyPr>
          <a:lstStyle/>
          <a:p>
            <a:pPr algn="l" defTabSz="978009" fontAlgn="auto" latinLnBrk="1">
              <a:lnSpc>
                <a:spcPct val="100000"/>
              </a:lnSpc>
              <a:spcBef>
                <a:spcPts val="0"/>
              </a:spcBef>
              <a:spcAft>
                <a:spcPts val="0"/>
              </a:spcAft>
            </a:pPr>
            <a:r>
              <a:rPr lang="en-US" sz="3000" dirty="0">
                <a:solidFill>
                  <a:srgbClr val="000000"/>
                </a:solidFill>
                <a:latin typeface="+mn-lt"/>
                <a:ea typeface="+mn-ea"/>
                <a:cs typeface="+mn-cs"/>
                <a:sym typeface="Gill Sans"/>
              </a:rPr>
              <a:t>Goals</a:t>
            </a:r>
          </a:p>
        </p:txBody>
      </p:sp>
      <p:sp>
        <p:nvSpPr>
          <p:cNvPr id="12" name="TextBox 11"/>
          <p:cNvSpPr txBox="1"/>
          <p:nvPr/>
        </p:nvSpPr>
        <p:spPr>
          <a:xfrm>
            <a:off x="20831410" y="1603226"/>
            <a:ext cx="2997122" cy="633414"/>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85044" tIns="85044" rIns="85044" bIns="85044" numCol="1" spcCol="63783" rtlCol="0" anchor="ctr">
            <a:spAutoFit/>
          </a:bodyPr>
          <a:lstStyle/>
          <a:p>
            <a:pPr algn="l" defTabSz="978009" fontAlgn="auto" latinLnBrk="1">
              <a:lnSpc>
                <a:spcPct val="100000"/>
              </a:lnSpc>
              <a:spcBef>
                <a:spcPts val="0"/>
              </a:spcBef>
              <a:spcAft>
                <a:spcPts val="0"/>
              </a:spcAft>
            </a:pPr>
            <a:r>
              <a:rPr lang="en-US" sz="3000" dirty="0">
                <a:solidFill>
                  <a:srgbClr val="000000"/>
                </a:solidFill>
                <a:latin typeface="+mn-lt"/>
                <a:ea typeface="+mn-ea"/>
                <a:cs typeface="+mn-cs"/>
                <a:sym typeface="Gill Sans"/>
              </a:rPr>
              <a:t>Tactics</a:t>
            </a:r>
          </a:p>
        </p:txBody>
      </p:sp>
      <p:sp>
        <p:nvSpPr>
          <p:cNvPr id="13" name="TextBox 12"/>
          <p:cNvSpPr txBox="1"/>
          <p:nvPr/>
        </p:nvSpPr>
        <p:spPr>
          <a:xfrm>
            <a:off x="20831410" y="2215852"/>
            <a:ext cx="2997122" cy="633414"/>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85044" tIns="85044" rIns="85044" bIns="85044" numCol="1" spcCol="63783" rtlCol="0" anchor="ctr">
            <a:spAutoFit/>
          </a:bodyPr>
          <a:lstStyle/>
          <a:p>
            <a:pPr algn="l" defTabSz="978009" fontAlgn="auto" latinLnBrk="1">
              <a:lnSpc>
                <a:spcPct val="100000"/>
              </a:lnSpc>
              <a:spcBef>
                <a:spcPts val="0"/>
              </a:spcBef>
              <a:spcAft>
                <a:spcPts val="0"/>
              </a:spcAft>
            </a:pPr>
            <a:r>
              <a:rPr lang="en-US" sz="3000" dirty="0">
                <a:solidFill>
                  <a:srgbClr val="000000"/>
                </a:solidFill>
                <a:latin typeface="+mn-lt"/>
                <a:ea typeface="+mn-ea"/>
                <a:cs typeface="+mn-cs"/>
                <a:sym typeface="Gill Sans"/>
              </a:rPr>
              <a:t>Out of scope</a:t>
            </a:r>
          </a:p>
        </p:txBody>
      </p:sp>
      <p:sp>
        <p:nvSpPr>
          <p:cNvPr id="15" name="Title 1"/>
          <p:cNvSpPr txBox="1">
            <a:spLocks/>
          </p:cNvSpPr>
          <p:nvPr/>
        </p:nvSpPr>
        <p:spPr>
          <a:xfrm>
            <a:off x="1689100" y="228600"/>
            <a:ext cx="21005800" cy="2057400"/>
          </a:xfrm>
          <a:prstGeom prst="rect">
            <a:avLst/>
          </a:prstGeom>
        </p:spPr>
        <p:txBody>
          <a:bodyPr/>
          <a:lstStyle>
            <a:lvl1pPr algn="ctr" defTabSz="825500" rtl="0" eaLnBrk="0" fontAlgn="base" hangingPunct="0">
              <a:spcBef>
                <a:spcPct val="0"/>
              </a:spcBef>
              <a:spcAft>
                <a:spcPct val="0"/>
              </a:spcAft>
              <a:defRPr sz="7000">
                <a:solidFill>
                  <a:srgbClr val="0081BA"/>
                </a:solidFill>
                <a:latin typeface="Gotham Book"/>
                <a:ea typeface="+mj-ea"/>
                <a:cs typeface="Gotham Book"/>
                <a:sym typeface="Verdana" charset="0"/>
              </a:defRPr>
            </a:lvl1pPr>
            <a:lvl2pPr algn="ctr" defTabSz="825500" rtl="0" eaLnBrk="0" fontAlgn="base" hangingPunct="0">
              <a:spcBef>
                <a:spcPct val="0"/>
              </a:spcBef>
              <a:spcAft>
                <a:spcPct val="0"/>
              </a:spcAft>
              <a:defRPr sz="7000">
                <a:solidFill>
                  <a:srgbClr val="0081BA"/>
                </a:solidFill>
                <a:latin typeface="Gotham Book" charset="0"/>
                <a:ea typeface="ＭＳ Ｐゴシック" charset="0"/>
                <a:cs typeface="Verdana" charset="0"/>
                <a:sym typeface="Verdana" charset="0"/>
              </a:defRPr>
            </a:lvl2pPr>
            <a:lvl3pPr algn="ctr" defTabSz="825500" rtl="0" eaLnBrk="0" fontAlgn="base" hangingPunct="0">
              <a:spcBef>
                <a:spcPct val="0"/>
              </a:spcBef>
              <a:spcAft>
                <a:spcPct val="0"/>
              </a:spcAft>
              <a:defRPr sz="7000">
                <a:solidFill>
                  <a:srgbClr val="0081BA"/>
                </a:solidFill>
                <a:latin typeface="Gotham Book" charset="0"/>
                <a:ea typeface="ＭＳ Ｐゴシック" charset="0"/>
                <a:cs typeface="Verdana" charset="0"/>
                <a:sym typeface="Verdana" charset="0"/>
              </a:defRPr>
            </a:lvl3pPr>
            <a:lvl4pPr algn="ctr" defTabSz="825500" rtl="0" eaLnBrk="0" fontAlgn="base" hangingPunct="0">
              <a:spcBef>
                <a:spcPct val="0"/>
              </a:spcBef>
              <a:spcAft>
                <a:spcPct val="0"/>
              </a:spcAft>
              <a:defRPr sz="7000">
                <a:solidFill>
                  <a:srgbClr val="0081BA"/>
                </a:solidFill>
                <a:latin typeface="Gotham Book" charset="0"/>
                <a:ea typeface="ＭＳ Ｐゴシック" charset="0"/>
                <a:cs typeface="Verdana" charset="0"/>
                <a:sym typeface="Verdana" charset="0"/>
              </a:defRPr>
            </a:lvl4pPr>
            <a:lvl5pPr algn="ctr" defTabSz="825500" rtl="0" eaLnBrk="0" fontAlgn="base" hangingPunct="0">
              <a:spcBef>
                <a:spcPct val="0"/>
              </a:spcBef>
              <a:spcAft>
                <a:spcPct val="0"/>
              </a:spcAft>
              <a:defRPr sz="7000">
                <a:solidFill>
                  <a:srgbClr val="0081BA"/>
                </a:solidFill>
                <a:latin typeface="Gotham Book" charset="0"/>
                <a:ea typeface="ＭＳ Ｐゴシック" charset="0"/>
                <a:cs typeface="Verdana" charset="0"/>
                <a:sym typeface="Verdana" charset="0"/>
              </a:defRPr>
            </a:lvl5pPr>
            <a:lvl6pPr marL="457200" algn="ctr" defTabSz="825500" rtl="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6pPr>
            <a:lvl7pPr marL="914400" algn="ctr" defTabSz="825500" rtl="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7pPr>
            <a:lvl8pPr marL="1371600" algn="ctr" defTabSz="825500" rtl="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8pPr>
            <a:lvl9pPr marL="1828800" algn="ctr" defTabSz="825500" rtl="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9pPr>
          </a:lstStyle>
          <a:p>
            <a:pPr algn="l"/>
            <a:r>
              <a:rPr lang="en-US" b="1" dirty="0" smtClean="0">
                <a:latin typeface="Proxima Nova"/>
                <a:cs typeface="Proxima Nova"/>
              </a:rPr>
              <a:t>Travel &amp; Hospitality</a:t>
            </a:r>
            <a:br>
              <a:rPr lang="en-US" b="1" dirty="0" smtClean="0">
                <a:latin typeface="Proxima Nova"/>
                <a:cs typeface="Proxima Nova"/>
              </a:rPr>
            </a:br>
            <a:r>
              <a:rPr lang="en-US" b="1" dirty="0" smtClean="0">
                <a:latin typeface="Proxima Nova"/>
                <a:cs typeface="Proxima Nova"/>
              </a:rPr>
              <a:t>(Dutch)</a:t>
            </a:r>
            <a:endParaRPr lang="en-US" b="1" dirty="0">
              <a:solidFill>
                <a:schemeClr val="accent5"/>
              </a:solidFill>
              <a:latin typeface="Proxima Nova"/>
              <a:cs typeface="Proxima Nova"/>
            </a:endParaRPr>
          </a:p>
        </p:txBody>
      </p:sp>
    </p:spTree>
    <p:extLst>
      <p:ext uri="{BB962C8B-B14F-4D97-AF65-F5344CB8AC3E}">
        <p14:creationId xmlns:p14="http://schemas.microsoft.com/office/powerpoint/2010/main" val="3852602141"/>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5118" y="0"/>
            <a:ext cx="24384000" cy="13716000"/>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101615" tIns="101615" rIns="101615" bIns="101615" numCol="1" spcCol="76211" rtlCol="0" anchor="ctr">
            <a:noAutofit/>
          </a:bodyPr>
          <a:lstStyle/>
          <a:p>
            <a:pPr defTabSz="1168575" fontAlgn="auto" latinLnBrk="1">
              <a:lnSpc>
                <a:spcPct val="100000"/>
              </a:lnSpc>
              <a:spcBef>
                <a:spcPts val="0"/>
              </a:spcBef>
              <a:spcAft>
                <a:spcPts val="0"/>
              </a:spcAft>
            </a:pPr>
            <a:endParaRPr lang="en-US" sz="8000">
              <a:solidFill>
                <a:srgbClr val="FFFFFF"/>
              </a:solidFill>
              <a:effectLst>
                <a:outerShdw blurRad="38100" dist="12700" dir="5400000" rotWithShape="0">
                  <a:srgbClr val="000000">
                    <a:alpha val="50000"/>
                  </a:srgbClr>
                </a:outerShdw>
              </a:effectLst>
              <a:latin typeface="+mn-lt"/>
              <a:ea typeface="+mn-ea"/>
              <a:cs typeface="+mn-cs"/>
              <a:sym typeface="Gill Sans"/>
            </a:endParaRPr>
          </a:p>
        </p:txBody>
      </p:sp>
      <p:graphicFrame>
        <p:nvGraphicFramePr>
          <p:cNvPr id="5" name="Diagram 4"/>
          <p:cNvGraphicFramePr/>
          <p:nvPr>
            <p:extLst>
              <p:ext uri="{D42A27DB-BD31-4B8C-83A1-F6EECF244321}">
                <p14:modId xmlns:p14="http://schemas.microsoft.com/office/powerpoint/2010/main" val="1593403526"/>
              </p:ext>
            </p:extLst>
          </p:nvPr>
        </p:nvGraphicFramePr>
        <p:xfrm>
          <a:off x="1143000" y="0"/>
          <a:ext cx="23049407" cy="13411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1"/>
          <p:cNvSpPr>
            <a:spLocks noGrp="1"/>
          </p:cNvSpPr>
          <p:nvPr>
            <p:ph type="title"/>
          </p:nvPr>
        </p:nvSpPr>
        <p:spPr>
          <a:xfrm>
            <a:off x="1689100" y="0"/>
            <a:ext cx="21005800" cy="2286000"/>
          </a:xfrm>
        </p:spPr>
        <p:txBody>
          <a:bodyPr/>
          <a:lstStyle/>
          <a:p>
            <a:r>
              <a:rPr lang="en-US" b="1" dirty="0" smtClean="0">
                <a:latin typeface="Proxima Nova"/>
                <a:cs typeface="Proxima Nova"/>
              </a:rPr>
              <a:t>Financial Services</a:t>
            </a:r>
            <a:endParaRPr lang="en-US" b="1" dirty="0">
              <a:solidFill>
                <a:schemeClr val="accent5"/>
              </a:solidFill>
              <a:latin typeface="Proxima Nova"/>
              <a:cs typeface="Proxima Nova"/>
            </a:endParaRPr>
          </a:p>
        </p:txBody>
      </p:sp>
    </p:spTree>
    <p:extLst>
      <p:ext uri="{BB962C8B-B14F-4D97-AF65-F5344CB8AC3E}">
        <p14:creationId xmlns:p14="http://schemas.microsoft.com/office/powerpoint/2010/main" val="26836729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JtIVLfA2t0.hPw06Am6gc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i450hYvsgkWCewzOavu6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1FGSqdUgbEqEiK_myTIy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X0JdPuAMEafPEy95bhz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vJ5QSmknk.9FSXWpFz_7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450hYvsgkWCewzOavu6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JtIVLfA2t0.hPw06Am6gc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FGSqdUgbEqEiK_myTIyW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X0JdPuAMEafPEy95bhz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ZvJ5QSmknk.9FSXWpFz_7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2.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White">
  <a:themeElements>
    <a:clrScheme name="">
      <a:dk1>
        <a:srgbClr val="202020"/>
      </a:dk1>
      <a:lt1>
        <a:srgbClr val="FFFFFF"/>
      </a:lt1>
      <a:dk2>
        <a:srgbClr val="53585F"/>
      </a:dk2>
      <a:lt2>
        <a:srgbClr val="DCDEE0"/>
      </a:lt2>
      <a:accent1>
        <a:srgbClr val="0365C0"/>
      </a:accent1>
      <a:accent2>
        <a:srgbClr val="00882B"/>
      </a:accent2>
      <a:accent3>
        <a:srgbClr val="FFFFFF"/>
      </a:accent3>
      <a:accent4>
        <a:srgbClr val="1A1A1A"/>
      </a:accent4>
      <a:accent5>
        <a:srgbClr val="AAB8DC"/>
      </a:accent5>
      <a:accent6>
        <a:srgbClr val="007B26"/>
      </a:accent6>
      <a:hlink>
        <a:srgbClr val="0000FF"/>
      </a:hlink>
      <a:folHlink>
        <a:srgbClr val="FF00FF"/>
      </a:folHlink>
    </a:clrScheme>
    <a:fontScheme name="White">
      <a:majorFont>
        <a:latin typeface="Verdana"/>
        <a:ea typeface="ＭＳ Ｐゴシック"/>
        <a:cs typeface="Verdana"/>
      </a:majorFont>
      <a:minorFont>
        <a:latin typeface="Verdana"/>
        <a:ea typeface="ＭＳ Ｐゴシック"/>
        <a:cs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miter lim="0"/>
          <a:headEnd type="none" w="med" len="med"/>
          <a:tailEnd type="none" w="med" len="med"/>
        </a:ln>
        <a:effectLst>
          <a:outerShdw blurRad="38100" dist="25400" dir="5400000" algn="ctr" rotWithShape="0">
            <a:srgbClr val="000000">
              <a:alpha val="50000"/>
            </a:srgbClr>
          </a:outerShdw>
        </a:effectLst>
      </a:spPr>
      <a:bodyPr vert="horz" wrap="square" lIns="50800" tIns="50800" rIns="50800" bIns="50800" numCol="1" anchor="ctr" anchorCtr="0" compatLnSpc="1">
        <a:prstTxWarp prst="textNoShape">
          <a:avLst/>
        </a:prstTxWarp>
        <a:spAutoFit/>
      </a:bodyPr>
      <a:lstStyle>
        <a:defPPr marL="0" marR="0" indent="0" algn="ctr" defTabSz="825500" rtl="0" eaLnBrk="1" fontAlgn="base" latinLnBrk="0" hangingPunct="0">
          <a:lnSpc>
            <a:spcPct val="120000"/>
          </a:lnSpc>
          <a:spcBef>
            <a:spcPct val="0"/>
          </a:spcBef>
          <a:spcAft>
            <a:spcPct val="0"/>
          </a:spcAft>
          <a:buClrTx/>
          <a:buSzTx/>
          <a:buFontTx/>
          <a:buNone/>
          <a:tabLst/>
          <a:defRPr kumimoji="0" lang="en-US" sz="2000" b="0" i="0" u="none" strike="noStrike" cap="none" normalizeH="0" baseline="0">
            <a:ln>
              <a:noFill/>
            </a:ln>
            <a:solidFill>
              <a:srgbClr val="202020"/>
            </a:solidFill>
            <a:effectLst/>
            <a:latin typeface="Verdana" charset="0"/>
            <a:ea typeface="ＭＳ Ｐゴシック" charset="0"/>
            <a:cs typeface="Verdana" charset="0"/>
            <a:sym typeface="Verdana"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miter lim="0"/>
          <a:headEnd type="none" w="med" len="med"/>
          <a:tailEnd type="none" w="med" len="med"/>
        </a:ln>
        <a:effectLst>
          <a:outerShdw blurRad="38100" dist="25400" dir="5400000" algn="ctr" rotWithShape="0">
            <a:srgbClr val="000000">
              <a:alpha val="50000"/>
            </a:srgbClr>
          </a:outerShdw>
        </a:effectLst>
      </a:spPr>
      <a:bodyPr vert="horz" wrap="square" lIns="50800" tIns="50800" rIns="50800" bIns="50800" numCol="1" anchor="ctr" anchorCtr="0" compatLnSpc="1">
        <a:prstTxWarp prst="textNoShape">
          <a:avLst/>
        </a:prstTxWarp>
        <a:spAutoFit/>
      </a:bodyPr>
      <a:lstStyle>
        <a:defPPr marL="0" marR="0" indent="0" algn="ctr" defTabSz="825500" rtl="0" eaLnBrk="1" fontAlgn="base" latinLnBrk="0" hangingPunct="0">
          <a:lnSpc>
            <a:spcPct val="120000"/>
          </a:lnSpc>
          <a:spcBef>
            <a:spcPct val="0"/>
          </a:spcBef>
          <a:spcAft>
            <a:spcPct val="0"/>
          </a:spcAft>
          <a:buClrTx/>
          <a:buSzTx/>
          <a:buFontTx/>
          <a:buNone/>
          <a:tabLst/>
          <a:defRPr kumimoji="0" lang="en-US" sz="2000" b="0" i="0" u="none" strike="noStrike" cap="none" normalizeH="0" baseline="0">
            <a:ln>
              <a:noFill/>
            </a:ln>
            <a:solidFill>
              <a:srgbClr val="202020"/>
            </a:solidFill>
            <a:effectLst/>
            <a:latin typeface="Verdana" charset="0"/>
            <a:ea typeface="ＭＳ Ｐゴシック" charset="0"/>
            <a:cs typeface="Verdana" charset="0"/>
            <a:sym typeface="Verdana" charset="0"/>
          </a:defRPr>
        </a:defPPr>
      </a:lstStyle>
    </a:lnDef>
  </a:objectDefaults>
  <a:extraClrSchemeLst/>
</a:theme>
</file>

<file path=ppt/theme/theme2.xml><?xml version="1.0" encoding="utf-8"?>
<a:theme xmlns:a="http://schemas.openxmlformats.org/drawingml/2006/main" name="White - Title &amp; Subtitle">
  <a:themeElements>
    <a:clrScheme name="">
      <a:dk1>
        <a:srgbClr val="202020"/>
      </a:dk1>
      <a:lt1>
        <a:srgbClr val="FFFFFF"/>
      </a:lt1>
      <a:dk2>
        <a:srgbClr val="53585F"/>
      </a:dk2>
      <a:lt2>
        <a:srgbClr val="DCDEE0"/>
      </a:lt2>
      <a:accent1>
        <a:srgbClr val="0365C0"/>
      </a:accent1>
      <a:accent2>
        <a:srgbClr val="00882B"/>
      </a:accent2>
      <a:accent3>
        <a:srgbClr val="FFFFFF"/>
      </a:accent3>
      <a:accent4>
        <a:srgbClr val="1A1A1A"/>
      </a:accent4>
      <a:accent5>
        <a:srgbClr val="AAB8DC"/>
      </a:accent5>
      <a:accent6>
        <a:srgbClr val="007B26"/>
      </a:accent6>
      <a:hlink>
        <a:srgbClr val="0000FF"/>
      </a:hlink>
      <a:folHlink>
        <a:srgbClr val="FF00FF"/>
      </a:folHlink>
    </a:clrScheme>
    <a:fontScheme name="White - Title &amp; Subtitle">
      <a:majorFont>
        <a:latin typeface="Verdana"/>
        <a:ea typeface="ＭＳ Ｐゴシック"/>
        <a:cs typeface="Verdana"/>
      </a:majorFont>
      <a:minorFont>
        <a:latin typeface="Verdana"/>
        <a:ea typeface="ＭＳ Ｐゴシック"/>
        <a:cs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miter lim="0"/>
          <a:headEnd type="none" w="med" len="med"/>
          <a:tailEnd type="none" w="med" len="med"/>
        </a:ln>
        <a:effectLst>
          <a:outerShdw blurRad="38100" dist="25400" dir="5400000" algn="ctr" rotWithShape="0">
            <a:srgbClr val="000000">
              <a:alpha val="50000"/>
            </a:srgbClr>
          </a:outerShdw>
        </a:effectLst>
      </a:spPr>
      <a:bodyPr vert="horz" wrap="square" lIns="50800" tIns="50800" rIns="50800" bIns="50800" numCol="1" anchor="ctr" anchorCtr="0" compatLnSpc="1">
        <a:prstTxWarp prst="textNoShape">
          <a:avLst/>
        </a:prstTxWarp>
        <a:spAutoFit/>
      </a:bodyPr>
      <a:lstStyle>
        <a:defPPr marL="0" marR="0" indent="0" algn="ctr" defTabSz="825500" rtl="0" eaLnBrk="1" fontAlgn="base" latinLnBrk="0" hangingPunct="0">
          <a:lnSpc>
            <a:spcPct val="120000"/>
          </a:lnSpc>
          <a:spcBef>
            <a:spcPct val="0"/>
          </a:spcBef>
          <a:spcAft>
            <a:spcPct val="0"/>
          </a:spcAft>
          <a:buClrTx/>
          <a:buSzTx/>
          <a:buFontTx/>
          <a:buNone/>
          <a:tabLst/>
          <a:defRPr kumimoji="0" lang="en-US" sz="2000" b="0" i="0" u="none" strike="noStrike" cap="none" normalizeH="0" baseline="0">
            <a:ln>
              <a:noFill/>
            </a:ln>
            <a:solidFill>
              <a:srgbClr val="202020"/>
            </a:solidFill>
            <a:effectLst/>
            <a:latin typeface="Verdana" charset="0"/>
            <a:ea typeface="ＭＳ Ｐゴシック" charset="0"/>
            <a:cs typeface="Verdana" charset="0"/>
            <a:sym typeface="Verdana"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miter lim="0"/>
          <a:headEnd type="none" w="med" len="med"/>
          <a:tailEnd type="none" w="med" len="med"/>
        </a:ln>
        <a:effectLst>
          <a:outerShdw blurRad="38100" dist="25400" dir="5400000" algn="ctr" rotWithShape="0">
            <a:srgbClr val="000000">
              <a:alpha val="50000"/>
            </a:srgbClr>
          </a:outerShdw>
        </a:effectLst>
      </a:spPr>
      <a:bodyPr vert="horz" wrap="square" lIns="50800" tIns="50800" rIns="50800" bIns="50800" numCol="1" anchor="ctr" anchorCtr="0" compatLnSpc="1">
        <a:prstTxWarp prst="textNoShape">
          <a:avLst/>
        </a:prstTxWarp>
        <a:spAutoFit/>
      </a:bodyPr>
      <a:lstStyle>
        <a:defPPr marL="0" marR="0" indent="0" algn="ctr" defTabSz="825500" rtl="0" eaLnBrk="1" fontAlgn="base" latinLnBrk="0" hangingPunct="0">
          <a:lnSpc>
            <a:spcPct val="120000"/>
          </a:lnSpc>
          <a:spcBef>
            <a:spcPct val="0"/>
          </a:spcBef>
          <a:spcAft>
            <a:spcPct val="0"/>
          </a:spcAft>
          <a:buClrTx/>
          <a:buSzTx/>
          <a:buFontTx/>
          <a:buNone/>
          <a:tabLst/>
          <a:defRPr kumimoji="0" lang="en-US" sz="2000" b="0" i="0" u="none" strike="noStrike" cap="none" normalizeH="0" baseline="0">
            <a:ln>
              <a:noFill/>
            </a:ln>
            <a:solidFill>
              <a:srgbClr val="202020"/>
            </a:solidFill>
            <a:effectLst/>
            <a:latin typeface="Verdana" charset="0"/>
            <a:ea typeface="ＭＳ Ｐゴシック" charset="0"/>
            <a:cs typeface="Verdana" charset="0"/>
            <a:sym typeface="Verdana" charset="0"/>
          </a:defRPr>
        </a:defPPr>
      </a:lstStyle>
    </a:lnDef>
  </a:objectDefaults>
  <a:extraClrSchemeLst/>
</a:theme>
</file>

<file path=ppt/theme/theme3.xml><?xml version="1.0" encoding="utf-8"?>
<a:theme xmlns:a="http://schemas.openxmlformats.org/drawingml/2006/main" name="White - Optimizely">
  <a:themeElements>
    <a:clrScheme name="">
      <a:dk1>
        <a:srgbClr val="202020"/>
      </a:dk1>
      <a:lt1>
        <a:srgbClr val="FFFFFF"/>
      </a:lt1>
      <a:dk2>
        <a:srgbClr val="53585F"/>
      </a:dk2>
      <a:lt2>
        <a:srgbClr val="DCDEE0"/>
      </a:lt2>
      <a:accent1>
        <a:srgbClr val="0365C0"/>
      </a:accent1>
      <a:accent2>
        <a:srgbClr val="00882B"/>
      </a:accent2>
      <a:accent3>
        <a:srgbClr val="FFFFFF"/>
      </a:accent3>
      <a:accent4>
        <a:srgbClr val="1A1A1A"/>
      </a:accent4>
      <a:accent5>
        <a:srgbClr val="AAB8DC"/>
      </a:accent5>
      <a:accent6>
        <a:srgbClr val="007B26"/>
      </a:accent6>
      <a:hlink>
        <a:srgbClr val="0000FF"/>
      </a:hlink>
      <a:folHlink>
        <a:srgbClr val="FF00FF"/>
      </a:folHlink>
    </a:clrScheme>
    <a:fontScheme name="White - Optimizely">
      <a:majorFont>
        <a:latin typeface="Verdana"/>
        <a:ea typeface="ＭＳ Ｐゴシック"/>
        <a:cs typeface="Verdana"/>
      </a:majorFont>
      <a:minorFont>
        <a:latin typeface="Verdana"/>
        <a:ea typeface="ＭＳ Ｐゴシック"/>
        <a:cs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miter lim="0"/>
          <a:headEnd type="none" w="med" len="med"/>
          <a:tailEnd type="none" w="med" len="med"/>
        </a:ln>
        <a:effectLst>
          <a:outerShdw blurRad="38100" dist="25400" dir="5400000" algn="ctr" rotWithShape="0">
            <a:srgbClr val="000000">
              <a:alpha val="50000"/>
            </a:srgbClr>
          </a:outerShdw>
        </a:effectLst>
      </a:spPr>
      <a:bodyPr vert="horz" wrap="square" lIns="50800" tIns="50800" rIns="50800" bIns="50800" numCol="1" anchor="ctr" anchorCtr="0" compatLnSpc="1">
        <a:prstTxWarp prst="textNoShape">
          <a:avLst/>
        </a:prstTxWarp>
        <a:spAutoFit/>
      </a:bodyPr>
      <a:lstStyle>
        <a:defPPr marL="0" marR="0" indent="0" algn="ctr" defTabSz="825500" rtl="0" eaLnBrk="1" fontAlgn="base" latinLnBrk="0" hangingPunct="0">
          <a:lnSpc>
            <a:spcPct val="120000"/>
          </a:lnSpc>
          <a:spcBef>
            <a:spcPct val="0"/>
          </a:spcBef>
          <a:spcAft>
            <a:spcPct val="0"/>
          </a:spcAft>
          <a:buClrTx/>
          <a:buSzTx/>
          <a:buFontTx/>
          <a:buNone/>
          <a:tabLst/>
          <a:defRPr kumimoji="0" lang="en-US" sz="2000" b="0" i="0" u="none" strike="noStrike" cap="none" normalizeH="0" baseline="0">
            <a:ln>
              <a:noFill/>
            </a:ln>
            <a:solidFill>
              <a:srgbClr val="202020"/>
            </a:solidFill>
            <a:effectLst/>
            <a:latin typeface="Verdana" charset="0"/>
            <a:ea typeface="ＭＳ Ｐゴシック" charset="0"/>
            <a:cs typeface="Verdana" charset="0"/>
            <a:sym typeface="Verdana"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miter lim="0"/>
          <a:headEnd type="none" w="med" len="med"/>
          <a:tailEnd type="none" w="med" len="med"/>
        </a:ln>
        <a:effectLst>
          <a:outerShdw blurRad="38100" dist="25400" dir="5400000" algn="ctr" rotWithShape="0">
            <a:srgbClr val="000000">
              <a:alpha val="50000"/>
            </a:srgbClr>
          </a:outerShdw>
        </a:effectLst>
      </a:spPr>
      <a:bodyPr vert="horz" wrap="square" lIns="50800" tIns="50800" rIns="50800" bIns="50800" numCol="1" anchor="ctr" anchorCtr="0" compatLnSpc="1">
        <a:prstTxWarp prst="textNoShape">
          <a:avLst/>
        </a:prstTxWarp>
        <a:spAutoFit/>
      </a:bodyPr>
      <a:lstStyle>
        <a:defPPr marL="0" marR="0" indent="0" algn="ctr" defTabSz="825500" rtl="0" eaLnBrk="1" fontAlgn="base" latinLnBrk="0" hangingPunct="0">
          <a:lnSpc>
            <a:spcPct val="120000"/>
          </a:lnSpc>
          <a:spcBef>
            <a:spcPct val="0"/>
          </a:spcBef>
          <a:spcAft>
            <a:spcPct val="0"/>
          </a:spcAft>
          <a:buClrTx/>
          <a:buSzTx/>
          <a:buFontTx/>
          <a:buNone/>
          <a:tabLst/>
          <a:defRPr kumimoji="0" lang="en-US" sz="2000" b="0" i="0" u="none" strike="noStrike" cap="none" normalizeH="0" baseline="0">
            <a:ln>
              <a:noFill/>
            </a:ln>
            <a:solidFill>
              <a:srgbClr val="202020"/>
            </a:solidFill>
            <a:effectLst/>
            <a:latin typeface="Verdana" charset="0"/>
            <a:ea typeface="ＭＳ Ｐゴシック" charset="0"/>
            <a:cs typeface="Verdana" charset="0"/>
            <a:sym typeface="Verdana" charset="0"/>
          </a:defRPr>
        </a:defPPr>
      </a:lstStyle>
    </a:lnDef>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53585F"/>
      </a:dk2>
      <a:lt2>
        <a:srgbClr val="DCDEE0"/>
      </a:lt2>
      <a:accent1>
        <a:srgbClr val="0365C0"/>
      </a:accent1>
      <a:accent2>
        <a:srgbClr val="00882B"/>
      </a:accent2>
      <a:accent3>
        <a:srgbClr val="FFFFFF"/>
      </a:accent3>
      <a:accent4>
        <a:srgbClr val="000000"/>
      </a:accent4>
      <a:accent5>
        <a:srgbClr val="AAB8DC"/>
      </a:accent5>
      <a:accent6>
        <a:srgbClr val="007B26"/>
      </a:accent6>
      <a:hlink>
        <a:srgbClr val="0000FF"/>
      </a:hlink>
      <a:folHlink>
        <a:srgbClr val="FF00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31861</TotalTime>
  <Words>931</Words>
  <Application>Microsoft Macintosh PowerPoint</Application>
  <PresentationFormat>Custom</PresentationFormat>
  <Paragraphs>221</Paragraphs>
  <Slides>13</Slides>
  <Notes>0</Notes>
  <HiddenSlides>0</HiddenSlides>
  <MMClips>0</MMClips>
  <ScaleCrop>false</ScaleCrop>
  <HeadingPairs>
    <vt:vector size="4" baseType="variant">
      <vt:variant>
        <vt:lpstr>Theme</vt:lpstr>
      </vt:variant>
      <vt:variant>
        <vt:i4>3</vt:i4>
      </vt:variant>
      <vt:variant>
        <vt:lpstr>Slide Titles</vt:lpstr>
      </vt:variant>
      <vt:variant>
        <vt:i4>13</vt:i4>
      </vt:variant>
    </vt:vector>
  </HeadingPairs>
  <TitlesOfParts>
    <vt:vector size="16" baseType="lpstr">
      <vt:lpstr>White</vt:lpstr>
      <vt:lpstr>White - Title &amp; Subtitle</vt:lpstr>
      <vt:lpstr>White - Optimizely</vt:lpstr>
      <vt:lpstr>Goal tree  E-COMMERCE AND RETAIL </vt:lpstr>
      <vt:lpstr>Before you build a goal tree, let’s take a look at the structure behind it.   Goal trees help you define the strategic KPIs that your program will optimize through testing and personalization.  Notice how the company-level metric cascades directly into experiment-level goals.</vt:lpstr>
      <vt:lpstr>EXAMPLE</vt:lpstr>
      <vt:lpstr>PowerPoint Presentation</vt:lpstr>
      <vt:lpstr>Digital Commerce + Physical Retail</vt:lpstr>
      <vt:lpstr>Internet &amp; Telecom</vt:lpstr>
      <vt:lpstr>Travel &amp; Hospitality</vt:lpstr>
      <vt:lpstr>PowerPoint Presentation</vt:lpstr>
      <vt:lpstr>Financial Services</vt:lpstr>
      <vt:lpstr>PowerPoint Presentation</vt:lpstr>
      <vt:lpstr>Goal Mapping</vt:lpstr>
      <vt:lpstr>Goal Mapping</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Yeesheen Yang</cp:lastModifiedBy>
  <cp:revision>212</cp:revision>
  <dcterms:modified xsi:type="dcterms:W3CDTF">2016-05-06T01:17:23Z</dcterms:modified>
</cp:coreProperties>
</file>